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charts/chart4.xml" ContentType="application/vnd.openxmlformats-officedocument.drawingml.char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charts/chart1.xml" ContentType="application/vnd.openxmlformats-officedocument.drawingml.chart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9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1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57" r:id="rId1"/>
  </p:sldMasterIdLst>
  <p:notesMasterIdLst>
    <p:notesMasterId r:id="rId18"/>
  </p:notesMasterIdLst>
  <p:handoutMasterIdLst>
    <p:handoutMasterId r:id="rId19"/>
  </p:handoutMasterIdLst>
  <p:sldIdLst>
    <p:sldId id="617" r:id="rId2"/>
    <p:sldId id="618" r:id="rId3"/>
    <p:sldId id="631" r:id="rId4"/>
    <p:sldId id="656" r:id="rId5"/>
    <p:sldId id="657" r:id="rId6"/>
    <p:sldId id="658" r:id="rId7"/>
    <p:sldId id="642" r:id="rId8"/>
    <p:sldId id="644" r:id="rId9"/>
    <p:sldId id="633" r:id="rId10"/>
    <p:sldId id="659" r:id="rId11"/>
    <p:sldId id="654" r:id="rId12"/>
    <p:sldId id="661" r:id="rId13"/>
    <p:sldId id="662" r:id="rId14"/>
    <p:sldId id="663" r:id="rId15"/>
    <p:sldId id="660" r:id="rId16"/>
    <p:sldId id="621" r:id="rId17"/>
  </p:sldIdLst>
  <p:sldSz cx="9144000" cy="6858000" type="screen4x3"/>
  <p:notesSz cx="6662738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Stone Sans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pena" initials="JP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FF0000"/>
    <a:srgbClr val="FF7C80"/>
    <a:srgbClr val="CCFFFF"/>
    <a:srgbClr val="00CC00"/>
    <a:srgbClr val="FFFF99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32" autoAdjust="0"/>
    <p:restoredTop sz="69042" autoAdjust="0"/>
  </p:normalViewPr>
  <p:slideViewPr>
    <p:cSldViewPr>
      <p:cViewPr varScale="1">
        <p:scale>
          <a:sx n="52" d="100"/>
          <a:sy n="52" d="100"/>
        </p:scale>
        <p:origin x="-821" y="-91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196" y="-84"/>
      </p:cViewPr>
      <p:guideLst>
        <p:guide orient="horz" pos="3126"/>
        <p:guide pos="2098"/>
      </p:guideLst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7.xml" Id="rId8" /><Relationship Type="http://schemas.openxmlformats.org/officeDocument/2006/relationships/slide" Target="slides/slide12.xml" Id="rId13" /><Relationship Type="http://schemas.openxmlformats.org/officeDocument/2006/relationships/notesMaster" Target="notesMasters/notesMaster1.xml" Id="rId18" /><Relationship Type="http://schemas.openxmlformats.org/officeDocument/2006/relationships/slide" Target="slides/slide2.xml" Id="rId3" /><Relationship Type="http://schemas.openxmlformats.org/officeDocument/2006/relationships/presProps" Target="presProps.xml" Id="rId21" /><Relationship Type="http://schemas.openxmlformats.org/officeDocument/2006/relationships/slide" Target="slides/slide6.xml" Id="rId7" /><Relationship Type="http://schemas.openxmlformats.org/officeDocument/2006/relationships/slide" Target="slides/slide11.xml" Id="rId12" /><Relationship Type="http://schemas.openxmlformats.org/officeDocument/2006/relationships/slide" Target="slides/slide16.xml" Id="rId17" /><Relationship Type="http://schemas.openxmlformats.org/officeDocument/2006/relationships/slide" Target="slides/slide1.xml" Id="rId2" /><Relationship Type="http://schemas.openxmlformats.org/officeDocument/2006/relationships/slide" Target="slides/slide15.xml" Id="rId16" /><Relationship Type="http://schemas.openxmlformats.org/officeDocument/2006/relationships/commentAuthors" Target="commentAuthors.xml" Id="rId20" /><Relationship Type="http://schemas.openxmlformats.org/officeDocument/2006/relationships/slideMaster" Target="slideMasters/slideMaster1.xml" Id="rId1" /><Relationship Type="http://schemas.openxmlformats.org/officeDocument/2006/relationships/slide" Target="slides/slide5.xml" Id="rId6" /><Relationship Type="http://schemas.openxmlformats.org/officeDocument/2006/relationships/slide" Target="slides/slide10.xml" Id="rId11" /><Relationship Type="http://schemas.openxmlformats.org/officeDocument/2006/relationships/tableStyles" Target="tableStyles.xml" Id="rId24" /><Relationship Type="http://schemas.openxmlformats.org/officeDocument/2006/relationships/slide" Target="slides/slide4.xml" Id="rId5" /><Relationship Type="http://schemas.openxmlformats.org/officeDocument/2006/relationships/slide" Target="slides/slide14.xml" Id="rId15" /><Relationship Type="http://schemas.openxmlformats.org/officeDocument/2006/relationships/theme" Target="theme/theme1.xml" Id="rId23" /><Relationship Type="http://schemas.openxmlformats.org/officeDocument/2006/relationships/slide" Target="slides/slide9.xml" Id="rId10" /><Relationship Type="http://schemas.openxmlformats.org/officeDocument/2006/relationships/handoutMaster" Target="handoutMasters/handoutMaster1.xml" Id="rId19" /><Relationship Type="http://schemas.openxmlformats.org/officeDocument/2006/relationships/slide" Target="slides/slide3.xml" Id="rId4" /><Relationship Type="http://schemas.openxmlformats.org/officeDocument/2006/relationships/slide" Target="slides/slide8.xml" Id="rId9" /><Relationship Type="http://schemas.openxmlformats.org/officeDocument/2006/relationships/slide" Target="slides/slide13.xml" Id="rId14" /><Relationship Type="http://schemas.openxmlformats.org/officeDocument/2006/relationships/viewProps" Target="viewProps.xml" Id="rId22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I:\AR%202013\Annual%20report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1\HOME$\tgordo\Desktop\Annual%20report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1\HOME$\tgordo\Desktop\Annual%20report2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1\HOME$\tgordo\Desktop\Annual%20report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seload!$B$16</c:f>
              <c:strCache>
                <c:ptCount val="1"/>
                <c:pt idx="0">
                  <c:v>Ongoing in 201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Pt>
            <c:idx val="4"/>
            <c:invertIfNegative val="0"/>
            <c:bubble3D val="0"/>
          </c:dPt>
          <c:dLbls>
            <c:txPr>
              <a:bodyPr/>
              <a:lstStyle/>
              <a:p>
                <a:pPr>
                  <a:defRPr sz="800" b="1">
                    <a:latin typeface="+mj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aseload!$A$17:$A$2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caseload!$B$17:$B$21</c:f>
              <c:numCache>
                <c:formatCode>General</c:formatCode>
                <c:ptCount val="5"/>
                <c:pt idx="0">
                  <c:v>39</c:v>
                </c:pt>
                <c:pt idx="1">
                  <c:v>74</c:v>
                </c:pt>
                <c:pt idx="2">
                  <c:v>138</c:v>
                </c:pt>
                <c:pt idx="3">
                  <c:v>385</c:v>
                </c:pt>
                <c:pt idx="4">
                  <c:v>937</c:v>
                </c:pt>
              </c:numCache>
            </c:numRef>
          </c:val>
        </c:ser>
        <c:ser>
          <c:idx val="1"/>
          <c:order val="1"/>
          <c:tx>
            <c:strRef>
              <c:f>caseload!$C$16</c:f>
              <c:strCache>
                <c:ptCount val="1"/>
                <c:pt idx="0">
                  <c:v>Closed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Pt>
            <c:idx val="4"/>
            <c:invertIfNegative val="0"/>
            <c:bubble3D val="0"/>
          </c:dPt>
          <c:dLbls>
            <c:txPr>
              <a:bodyPr/>
              <a:lstStyle/>
              <a:p>
                <a:pPr>
                  <a:defRPr sz="800" b="1">
                    <a:latin typeface="+mj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aseload!$A$17:$A$2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caseload!$C$17:$C$21</c:f>
              <c:numCache>
                <c:formatCode>General</c:formatCode>
                <c:ptCount val="5"/>
                <c:pt idx="0">
                  <c:v>1332</c:v>
                </c:pt>
                <c:pt idx="1">
                  <c:v>1349</c:v>
                </c:pt>
                <c:pt idx="2">
                  <c:v>1303</c:v>
                </c:pt>
                <c:pt idx="3">
                  <c:v>1148</c:v>
                </c:pt>
                <c:pt idx="4">
                  <c:v>6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5758976"/>
        <c:axId val="135760512"/>
      </c:barChart>
      <c:lineChart>
        <c:grouping val="standard"/>
        <c:varyColors val="0"/>
        <c:ser>
          <c:idx val="2"/>
          <c:order val="2"/>
          <c:tx>
            <c:strRef>
              <c:f>caseload!$D$16</c:f>
              <c:strCache>
                <c:ptCount val="1"/>
                <c:pt idx="0">
                  <c:v>Total</c:v>
                </c:pt>
              </c:strCache>
            </c:strRef>
          </c:tx>
          <c:spPr>
            <a:ln w="50800" cap="rnd" cmpd="sng">
              <a:solidFill>
                <a:schemeClr val="tx2">
                  <a:lumMod val="75000"/>
                </a:schemeClr>
              </a:solidFill>
              <a:headEnd type="none"/>
              <a:tailEnd type="none"/>
            </a:ln>
          </c:spPr>
          <c:marker>
            <c:symbol val="diamond"/>
            <c:size val="9"/>
            <c:spPr>
              <a:solidFill>
                <a:schemeClr val="tx2">
                  <a:lumMod val="75000"/>
                </a:schemeClr>
              </a:solidFill>
            </c:spPr>
          </c:marker>
          <c:dLbls>
            <c:txPr>
              <a:bodyPr/>
              <a:lstStyle/>
              <a:p>
                <a:pPr>
                  <a:defRPr sz="1000" b="1">
                    <a:latin typeface="+mj-lt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aseload!$A$17:$A$21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caseload!$D$17:$D$21</c:f>
              <c:numCache>
                <c:formatCode>General</c:formatCode>
                <c:ptCount val="5"/>
                <c:pt idx="0">
                  <c:v>1372</c:v>
                </c:pt>
                <c:pt idx="1">
                  <c:v>1424</c:v>
                </c:pt>
                <c:pt idx="2">
                  <c:v>1441</c:v>
                </c:pt>
                <c:pt idx="3">
                  <c:v>1533</c:v>
                </c:pt>
                <c:pt idx="4">
                  <c:v>1576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758976"/>
        <c:axId val="135760512"/>
      </c:lineChart>
      <c:catAx>
        <c:axId val="135758976"/>
        <c:scaling>
          <c:orientation val="minMax"/>
        </c:scaling>
        <c:delete val="0"/>
        <c:axPos val="b"/>
        <c:majorTickMark val="out"/>
        <c:minorTickMark val="none"/>
        <c:tickLblPos val="nextTo"/>
        <c:crossAx val="135760512"/>
        <c:crosses val="autoZero"/>
        <c:auto val="1"/>
        <c:lblAlgn val="ctr"/>
        <c:lblOffset val="100"/>
        <c:noMultiLvlLbl val="0"/>
      </c:catAx>
      <c:valAx>
        <c:axId val="1357605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575897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543335559641596E-2"/>
          <c:y val="2.759675040619922E-2"/>
          <c:w val="0.85678144727471706"/>
          <c:h val="0.84510636170478692"/>
        </c:manualLayout>
      </c:layout>
      <c:ofPieChart>
        <c:ofPieType val="bar"/>
        <c:varyColors val="1"/>
        <c:dLbls>
          <c:dLblPos val="bestFit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gapWidth val="100"/>
        <c:splitType val="pos"/>
        <c:splitPos val="9"/>
        <c:secondPieSize val="75"/>
        <c:serLines>
          <c:spPr>
            <a:ln w="19050">
              <a:solidFill>
                <a:schemeClr val="tx2">
                  <a:lumMod val="75000"/>
                </a:schemeClr>
              </a:solidFill>
              <a:prstDash val="lgDashDot"/>
            </a:ln>
          </c:spPr>
        </c:serLines>
      </c:ofPieChart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11412871238293E-2"/>
          <c:y val="0.12664436945381827"/>
          <c:w val="0.85678144727471706"/>
          <c:h val="0.84510636170478692"/>
        </c:manualLayout>
      </c:layout>
      <c:ofPieChart>
        <c:ofPieType val="bar"/>
        <c:varyColors val="1"/>
        <c:dLbls>
          <c:dLblPos val="bestFit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gapWidth val="100"/>
        <c:splitType val="pos"/>
        <c:splitPos val="8"/>
        <c:secondPieSize val="75"/>
        <c:serLines/>
      </c:ofPieChart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11412871238293E-2"/>
          <c:y val="0.12664436945381827"/>
          <c:w val="0.85678144727471706"/>
          <c:h val="0.84510636170478692"/>
        </c:manualLayout>
      </c:layout>
      <c:ofPieChart>
        <c:ofPieType val="bar"/>
        <c:varyColors val="1"/>
        <c:ser>
          <c:idx val="0"/>
          <c:order val="0"/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7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8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9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</c:spPr>
          </c:dPt>
          <c:dPt>
            <c:idx val="1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/>
                      <a:t>Illegal Immigration &amp; </a:t>
                    </a:r>
                    <a:r>
                      <a:rPr lang="en-US" sz="800" dirty="0" smtClean="0"/>
                      <a:t>THB 5</a:t>
                    </a:r>
                    <a:r>
                      <a:rPr lang="en-US" sz="800" dirty="0"/>
                      <a:t>%</a:t>
                    </a:r>
                  </a:p>
                </c:rich>
              </c:tx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900" b="1">
                        <a:latin typeface="+mj-lt"/>
                      </a:rPr>
                      <a:t>Priority</a:t>
                    </a:r>
                    <a:r>
                      <a:rPr lang="en-US" sz="900" b="1" baseline="0">
                        <a:latin typeface="+mj-lt"/>
                      </a:rPr>
                      <a:t> crimes</a:t>
                    </a:r>
                    <a:r>
                      <a:rPr lang="en-US" sz="900" b="1">
                        <a:latin typeface="+mj-lt"/>
                      </a:rPr>
                      <a:t>
71%</a:t>
                    </a:r>
                    <a:endParaRPr lang="en-US"/>
                  </a:p>
                </c:rich>
              </c:tx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900" b="1">
                    <a:latin typeface="+mj-lt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Priority crimes'!$B$41:$B$47</c:f>
              <c:strCache>
                <c:ptCount val="7"/>
                <c:pt idx="0">
                  <c:v>Non priority crimes</c:v>
                </c:pt>
                <c:pt idx="1">
                  <c:v>Swindling and fraud</c:v>
                </c:pt>
                <c:pt idx="2">
                  <c:v>(Mobile) Organised crime</c:v>
                </c:pt>
                <c:pt idx="3">
                  <c:v>Drug trafficking</c:v>
                </c:pt>
                <c:pt idx="4">
                  <c:v>Money-laundering</c:v>
                </c:pt>
                <c:pt idx="5">
                  <c:v>Illegal Immigration &amp; THB</c:v>
                </c:pt>
                <c:pt idx="6">
                  <c:v>Other priority crimes</c:v>
                </c:pt>
              </c:strCache>
            </c:strRef>
          </c:cat>
          <c:val>
            <c:numRef>
              <c:f>'Priority crimes'!$C$41:$C$47</c:f>
              <c:numCache>
                <c:formatCode>General</c:formatCode>
                <c:ptCount val="7"/>
                <c:pt idx="0" formatCode="0">
                  <c:v>590</c:v>
                </c:pt>
                <c:pt idx="1">
                  <c:v>472</c:v>
                </c:pt>
                <c:pt idx="2">
                  <c:v>264</c:v>
                </c:pt>
                <c:pt idx="3">
                  <c:v>248</c:v>
                </c:pt>
                <c:pt idx="4">
                  <c:v>202</c:v>
                </c:pt>
                <c:pt idx="5">
                  <c:v>110</c:v>
                </c:pt>
                <c:pt idx="6">
                  <c:v>160</c:v>
                </c:pt>
              </c:numCache>
            </c:numRef>
          </c:val>
        </c:ser>
        <c:dLbls>
          <c:dLblPos val="bestFit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gapWidth val="100"/>
        <c:splitType val="pos"/>
        <c:splitPos val="6"/>
        <c:secondPieSize val="75"/>
        <c:serLines/>
      </c:ofPieChart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76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60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3488" y="0"/>
            <a:ext cx="288766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8876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60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3488" y="9428163"/>
            <a:ext cx="2887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fld id="{BCBF371E-2F99-4892-9FDA-44A28E5F3A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25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76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5075" y="0"/>
            <a:ext cx="28876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0900" y="744538"/>
            <a:ext cx="4960938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000" y="4716463"/>
            <a:ext cx="4884738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8876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5075" y="9429750"/>
            <a:ext cx="28876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Stone Sans" pitchFamily="34" charset="0"/>
                <a:cs typeface="+mn-cs"/>
              </a:defRPr>
            </a:lvl1pPr>
          </a:lstStyle>
          <a:p>
            <a:pPr>
              <a:defRPr/>
            </a:pPr>
            <a:fld id="{7626351C-45AC-4A93-848C-A087A75EAF7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3114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tone Sans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tone Sans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tone Sans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tone Sans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tone 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Stone San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A39E8D2-2703-4DFB-A92D-71C280F2F38C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Stone San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11461A-5DD3-4998-9AB9-DAC84C60AA06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Stone San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4BB6030-4BE6-47A0-930F-679F4A1E6F3F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Stone San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5EC7D05-1C03-4ADE-A43B-5B1A757DC10C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Stone San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A39E8D2-2703-4DFB-A92D-71C280F2F38C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76380-187D-4555-92F2-CE6DE77B9FC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Moscow</a:t>
            </a:r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50727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76380-187D-4555-92F2-CE6DE77B9FC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2491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Other priority crimes are:</a:t>
            </a:r>
            <a:r>
              <a:rPr lang="en-GB" baseline="0" dirty="0" smtClean="0"/>
              <a:t> </a:t>
            </a:r>
          </a:p>
          <a:p>
            <a:r>
              <a:rPr lang="en-GB" baseline="0" dirty="0" smtClean="0"/>
              <a:t>Cybercrime, Illegal immigrant and terrorism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76380-187D-4555-92F2-CE6DE77B9FC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425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6351C-45AC-4A93-848C-A087A75EAF7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upload.wikimedia.org/wikipedia/en/6/65/Eurojust_logo.svg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ile:Eurojust logo.sv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1331766"/>
            <a:ext cx="1728192" cy="180920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683568" y="3356992"/>
            <a:ext cx="4176464" cy="7694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rtl="0" eaLnBrk="1" latinLnBrk="0" hangingPunct="1">
              <a:spcBef>
                <a:spcPct val="0"/>
              </a:spcBef>
              <a:buNone/>
            </a:pPr>
            <a:r>
              <a:rPr lang="en-US" sz="6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+mj-ea"/>
                <a:cs typeface="Arial" pitchFamily="34" charset="0"/>
              </a:rPr>
              <a:t>Eurojust</a:t>
            </a:r>
            <a:endParaRPr lang="en-IE" sz="600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  <a:ea typeface="+mj-ea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83568" y="4243735"/>
            <a:ext cx="4896544" cy="769441"/>
          </a:xfrm>
          <a:prstGeom prst="rect">
            <a:avLst/>
          </a:prstGeom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2400" kern="1200" baseline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cs typeface="Arial" pitchFamily="34" charset="0"/>
              </a:rPr>
              <a:t>The European Union’s </a:t>
            </a:r>
            <a:br>
              <a:rPr lang="en-US" sz="2400" kern="1200" baseline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cs typeface="Arial" pitchFamily="34" charset="0"/>
              </a:rPr>
            </a:br>
            <a:r>
              <a:rPr lang="en-US" sz="2400" kern="1200" baseline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cs typeface="Arial" pitchFamily="34" charset="0"/>
              </a:rPr>
              <a:t>Judicial Cooperation Unit</a:t>
            </a:r>
            <a:endParaRPr lang="en-IE" sz="2400" kern="1200" baseline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2144837"/>
            <a:ext cx="7772400" cy="1362075"/>
          </a:xfrm>
        </p:spPr>
        <p:txBody>
          <a:bodyPr anchor="t"/>
          <a:lstStyle>
            <a:lvl1pPr algn="l">
              <a:defRPr sz="4000" b="1" cap="all" baseline="0"/>
            </a:lvl1pPr>
          </a:lstStyle>
          <a:p>
            <a:r>
              <a:rPr lang="en-US" dirty="0" smtClean="0"/>
              <a:t>Click to type The title for this present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85800" y="3512989"/>
            <a:ext cx="7772400" cy="1500187"/>
          </a:xfrm>
        </p:spPr>
        <p:txBody>
          <a:bodyPr anchor="b" anchorCtr="0"/>
          <a:lstStyle>
            <a:lvl1pPr marL="0" indent="0" algn="r">
              <a:buNone/>
              <a:defRPr sz="20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type your name and job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414"/>
            <a:ext cx="8229600" cy="48577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68414"/>
            <a:ext cx="40386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4"/>
            <a:ext cx="40386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8413"/>
            <a:ext cx="4040188" cy="7204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9138"/>
            <a:ext cx="4040188" cy="4137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68413"/>
            <a:ext cx="4041775" cy="7207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89138"/>
            <a:ext cx="4041775" cy="4137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7544" y="1268413"/>
            <a:ext cx="7920880" cy="49688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67544" y="5661248"/>
            <a:ext cx="7920880" cy="576064"/>
          </a:xfrm>
          <a:solidFill>
            <a:srgbClr val="000000">
              <a:alpha val="50196"/>
            </a:srgbClr>
          </a:solidFill>
        </p:spPr>
        <p:txBody>
          <a:bodyPr anchor="ctr" anchorCtr="0"/>
          <a:lstStyle>
            <a:lvl1pPr marL="0" indent="0" algn="ctr">
              <a:buNone/>
              <a:defRPr sz="1400" baseline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the picture cap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1090464" cy="365125"/>
          </a:xfrm>
        </p:spPr>
        <p:txBody>
          <a:bodyPr/>
          <a:lstStyle/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91680" y="6356350"/>
            <a:ext cx="5760640" cy="365125"/>
          </a:xfrm>
        </p:spPr>
        <p:txBody>
          <a:bodyPr/>
          <a:lstStyle/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596336" y="6356350"/>
            <a:ext cx="792088" cy="365125"/>
          </a:xfrm>
        </p:spPr>
        <p:txBody>
          <a:bodyPr/>
          <a:lstStyle/>
          <a:p>
            <a:fld id="{D5BBC35B-A44B-4119-B8DA-DE9E3DFADA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11560" y="5733256"/>
            <a:ext cx="7920880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3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2000" kern="1200" baseline="0" dirty="0" smtClean="0">
                <a:solidFill>
                  <a:srgbClr val="000099"/>
                </a:solidFill>
                <a:latin typeface="+mj-lt"/>
                <a:ea typeface="+mn-ea"/>
                <a:cs typeface="Arial" pitchFamily="34" charset="0"/>
              </a:rPr>
              <a:t>www.eurojust.europa.eu</a:t>
            </a:r>
            <a:endParaRPr lang="en-IE" sz="2000" kern="1200" baseline="0" dirty="0" smtClean="0">
              <a:solidFill>
                <a:srgbClr val="000099"/>
              </a:solidFill>
              <a:latin typeface="+mj-lt"/>
              <a:ea typeface="+mn-ea"/>
              <a:cs typeface="Arial" pitchFamily="34" charset="0"/>
            </a:endParaRPr>
          </a:p>
        </p:txBody>
      </p:sp>
      <p:pic>
        <p:nvPicPr>
          <p:cNvPr id="10" name="Picture 4" descr="File:Eurojust logo.sv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03949" y="4725144"/>
            <a:ext cx="936103" cy="979983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Text Placeholder 38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1700809"/>
            <a:ext cx="7920037" cy="576063"/>
          </a:xfrm>
        </p:spPr>
        <p:txBody>
          <a:bodyPr/>
          <a:lstStyle>
            <a:lvl1pPr marL="0" indent="0" algn="ctr">
              <a:buNone/>
              <a:defRPr b="1"/>
            </a:lvl1pPr>
            <a:lvl2pPr marL="0" indent="0" algn="ctr">
              <a:buNone/>
              <a:defRPr/>
            </a:lvl2pPr>
            <a:lvl3pPr marL="0" indent="0" algn="ctr">
              <a:spcBef>
                <a:spcPts val="1800"/>
              </a:spcBef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 smtClean="0"/>
              <a:t>Type your name her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460432" y="6093296"/>
            <a:ext cx="68356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611560" y="2276872"/>
            <a:ext cx="7920880" cy="504825"/>
          </a:xfrm>
        </p:spPr>
        <p:txBody>
          <a:bodyPr>
            <a:noAutofit/>
          </a:bodyPr>
          <a:lstStyle>
            <a:lvl1pPr algn="ctr">
              <a:buNone/>
              <a:defRPr sz="2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Type your job title her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1560" y="3212207"/>
            <a:ext cx="7920880" cy="504825"/>
          </a:xfrm>
        </p:spPr>
        <p:txBody>
          <a:bodyPr>
            <a:noAutofit/>
          </a:bodyPr>
          <a:lstStyle>
            <a:lvl1pPr algn="ctr">
              <a:buNone/>
              <a:defRPr sz="24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Type your email address her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11560" y="3716263"/>
            <a:ext cx="7920880" cy="504825"/>
          </a:xfrm>
        </p:spPr>
        <p:txBody>
          <a:bodyPr>
            <a:noAutofit/>
          </a:bodyPr>
          <a:lstStyle>
            <a:lvl1pPr algn="ctr">
              <a:buNone/>
              <a:defRPr sz="24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Type your contact number her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7544" y="0"/>
            <a:ext cx="8208912" cy="11247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l" defTabSz="914400" rtl="0" eaLnBrk="1" latinLnBrk="0" hangingPunct="1">
              <a:lnSpc>
                <a:spcPts val="4400"/>
              </a:lnSpc>
              <a:spcBef>
                <a:spcPct val="0"/>
              </a:spcBef>
              <a:buNone/>
            </a:pPr>
            <a:r>
              <a:rPr lang="en-GB" sz="3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ntact Informatio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Date of the visit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Name of the vis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3A5BB-F4CB-4776-A1CD-49D6C648309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File:Eurojust logo.sv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448" y="6364450"/>
            <a:ext cx="360040" cy="376918"/>
          </a:xfrm>
          <a:prstGeom prst="rect">
            <a:avLst/>
          </a:prstGeom>
          <a:ln>
            <a:noFill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dissolv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247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8760"/>
            <a:ext cx="8229600" cy="4857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10904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en-GB" smtClean="0"/>
              <a:t>Date of the visi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91680" y="6356350"/>
            <a:ext cx="57606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en-US" smtClean="0"/>
              <a:t>Name of the visi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96336" y="6356350"/>
            <a:ext cx="792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fld id="{66139CD9-B6A6-4219-B9B0-2197EE2558C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File:Eurojust logo.sv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604448" y="6364450"/>
            <a:ext cx="360040" cy="376918"/>
          </a:xfrm>
          <a:prstGeom prst="rect">
            <a:avLst/>
          </a:prstGeom>
          <a:ln>
            <a:noFill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</p:sldLayoutIdLst>
  <p:transition>
    <p:dissolv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4400"/>
        </a:lnSpc>
        <a:spcBef>
          <a:spcPct val="0"/>
        </a:spcBef>
        <a:buNone/>
        <a:defRPr sz="38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rgbClr val="000099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rgbClr val="000099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0099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0099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009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jpe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34" Type="http://schemas.openxmlformats.org/officeDocument/2006/relationships/image" Target="../media/image36.jpe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image" Target="../media/image33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1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 smtClean="0"/>
              <a:t>Reforming Eurojust 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sz="2400" b="1" dirty="0" smtClean="0">
                <a:solidFill>
                  <a:srgbClr val="003399"/>
                </a:solidFill>
              </a:rPr>
              <a:t>Strengthening </a:t>
            </a:r>
            <a:r>
              <a:rPr lang="en-GB" sz="2400" b="1" dirty="0" err="1" smtClean="0">
                <a:solidFill>
                  <a:srgbClr val="003399"/>
                </a:solidFill>
              </a:rPr>
              <a:t>Eurojust’s</a:t>
            </a:r>
            <a:r>
              <a:rPr lang="en-GB" sz="2400" b="1" dirty="0" smtClean="0">
                <a:solidFill>
                  <a:srgbClr val="003399"/>
                </a:solidFill>
              </a:rPr>
              <a:t> governance structure and enhancing operational capabilities </a:t>
            </a:r>
            <a:endParaRPr lang="en-GB" sz="2400" b="1" dirty="0">
              <a:solidFill>
                <a:srgbClr val="003399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2400" i="1" dirty="0" smtClean="0">
                <a:solidFill>
                  <a:srgbClr val="003399"/>
                </a:solidFill>
              </a:rPr>
              <a:t>Definition of  Executive / Supervisory roles while safeguarding National Members independence in casework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2400" i="1" dirty="0" smtClean="0">
                <a:solidFill>
                  <a:srgbClr val="003399"/>
                </a:solidFill>
              </a:rPr>
              <a:t>Equipment  with a more proactive role = ‘on its own initiative’</a:t>
            </a:r>
          </a:p>
          <a:p>
            <a:pPr marL="457200" lvl="1" indent="0">
              <a:buNone/>
            </a:pPr>
            <a:endParaRPr lang="en-GB" sz="2000" i="1" dirty="0" smtClean="0">
              <a:solidFill>
                <a:srgbClr val="003399"/>
              </a:solidFill>
            </a:endParaRPr>
          </a:p>
          <a:p>
            <a:r>
              <a:rPr lang="en-GB" sz="2400" b="1" dirty="0" smtClean="0">
                <a:solidFill>
                  <a:srgbClr val="003399"/>
                </a:solidFill>
              </a:rPr>
              <a:t>Involving the European Parliament and national parliaments in the democratic oversight of </a:t>
            </a:r>
            <a:r>
              <a:rPr lang="en-GB" sz="2400" b="1" dirty="0" err="1" smtClean="0">
                <a:solidFill>
                  <a:srgbClr val="003399"/>
                </a:solidFill>
              </a:rPr>
              <a:t>Eurojust’s</a:t>
            </a:r>
            <a:r>
              <a:rPr lang="en-GB" sz="2400" b="1" dirty="0" smtClean="0">
                <a:solidFill>
                  <a:srgbClr val="003399"/>
                </a:solidFill>
              </a:rPr>
              <a:t> activitie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2400" i="1" dirty="0" smtClean="0">
                <a:solidFill>
                  <a:srgbClr val="003399"/>
                </a:solidFill>
              </a:rPr>
              <a:t>Annual Report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2400" i="1" dirty="0" smtClean="0">
                <a:solidFill>
                  <a:srgbClr val="003399"/>
                </a:solidFill>
              </a:rPr>
              <a:t>Periodic evaluation </a:t>
            </a:r>
            <a:endParaRPr lang="en-GB" sz="2400" i="1" dirty="0" smtClean="0">
              <a:solidFill>
                <a:srgbClr val="003399"/>
              </a:solidFill>
            </a:endParaRPr>
          </a:p>
          <a:p>
            <a:pPr marL="457200" lvl="1" indent="0">
              <a:buNone/>
            </a:pPr>
            <a:endParaRPr lang="en-GB" sz="2000" b="1" dirty="0" smtClean="0"/>
          </a:p>
          <a:p>
            <a:endParaRPr lang="en-GB" sz="2400" b="1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Dutch House of Representatives</a:t>
            </a:r>
          </a:p>
          <a:p>
            <a:r>
              <a:rPr lang="en-GB" dirty="0"/>
              <a:t>The Hague, 05 Februar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89315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600" dirty="0" smtClean="0"/>
              <a:t>European Public Prosecutor’s Office  </a:t>
            </a:r>
            <a:endParaRPr lang="en-GB" sz="3600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413"/>
            <a:ext cx="8229600" cy="485775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None/>
              <a:defRPr/>
            </a:pPr>
            <a:endParaRPr lang="en-GB" sz="2800" u="sng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800" dirty="0" smtClean="0"/>
              <a:t> EPPO with </a:t>
            </a:r>
            <a:r>
              <a:rPr lang="en-GB" sz="2800" b="1" dirty="0" smtClean="0"/>
              <a:t>limited scope</a:t>
            </a:r>
            <a:r>
              <a:rPr lang="en-GB" sz="2800" dirty="0" smtClean="0"/>
              <a:t>: crimes adversely affecting the financial interests of the European Union 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800" b="1" dirty="0" smtClean="0"/>
              <a:t>Institutional, procedural and substantive law </a:t>
            </a:r>
            <a:r>
              <a:rPr lang="en-GB" sz="2800" dirty="0" smtClean="0"/>
              <a:t>aspects under consideration in negotiation process 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800" b="1" dirty="0" smtClean="0"/>
              <a:t>Package</a:t>
            </a:r>
            <a:r>
              <a:rPr lang="en-GB" sz="2800" dirty="0" smtClean="0"/>
              <a:t>: parallel proposals on Eurojust and the establishment of an European Public Prosecutor’s Office</a:t>
            </a:r>
          </a:p>
          <a:p>
            <a:pPr eaLnBrk="1" fontAlgn="auto" hangingPunct="1">
              <a:spcAft>
                <a:spcPts val="0"/>
              </a:spcAft>
              <a:buNone/>
              <a:defRPr/>
            </a:pP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Dutch House of Representatives</a:t>
            </a:r>
          </a:p>
          <a:p>
            <a:r>
              <a:rPr lang="en-GB" dirty="0"/>
              <a:t>The Hague, 05 February 2014</a:t>
            </a:r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600" dirty="0" smtClean="0"/>
              <a:t>EPPO as new EU player 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413"/>
            <a:ext cx="8229600" cy="4857750"/>
          </a:xfrm>
        </p:spPr>
        <p:txBody>
          <a:bodyPr rtlCol="0">
            <a:normAutofit fontScale="850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US" sz="2600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2900" b="1" dirty="0" smtClean="0"/>
              <a:t>Integrated</a:t>
            </a:r>
            <a:r>
              <a:rPr lang="en-US" sz="2900" dirty="0" smtClean="0"/>
              <a:t> in existing landscape of police and judicial cooperation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US" sz="2900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2900" b="1" dirty="0" smtClean="0"/>
              <a:t>Strong link to national authorities</a:t>
            </a:r>
            <a:r>
              <a:rPr lang="en-US" sz="2900" dirty="0" smtClean="0"/>
              <a:t>: investigation of PIF cases by European Delegated Prosecutors in the Member States in accordance with national law and judicial follow-up by </a:t>
            </a:r>
            <a:r>
              <a:rPr lang="en-US" sz="2900" dirty="0" smtClean="0"/>
              <a:t>national </a:t>
            </a:r>
            <a:r>
              <a:rPr lang="en-US" sz="2900" dirty="0" smtClean="0"/>
              <a:t>courts 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US" sz="2900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2900" b="1" dirty="0" smtClean="0"/>
              <a:t>Acting together with other EU actors </a:t>
            </a:r>
            <a:r>
              <a:rPr lang="en-US" sz="2900" dirty="0" smtClean="0"/>
              <a:t>in a coordinated and </a:t>
            </a:r>
            <a:r>
              <a:rPr lang="en-GB" sz="2900" dirty="0" smtClean="0"/>
              <a:t>complementary way</a:t>
            </a:r>
            <a:r>
              <a:rPr lang="en-US" sz="2900" dirty="0" smtClean="0"/>
              <a:t>, e.g. Eurojust, Europol, OLAF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en-US" sz="2900" dirty="0" smtClean="0"/>
          </a:p>
          <a:p>
            <a:pPr eaLnBrk="1" fontAlgn="auto" hangingPunct="1"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GB" sz="2900" b="1" i="1" dirty="0" smtClean="0">
                <a:solidFill>
                  <a:srgbClr val="FF0000"/>
                </a:solidFill>
              </a:rPr>
              <a:t>Building on experience, expertise and creating synergies </a:t>
            </a:r>
            <a:endParaRPr lang="en-GB" sz="2900" b="1" dirty="0" smtClean="0">
              <a:solidFill>
                <a:srgbClr val="FF0000"/>
              </a:solidFill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The Dutch House of Representatives</a:t>
            </a:r>
          </a:p>
          <a:p>
            <a:pPr>
              <a:defRPr/>
            </a:pPr>
            <a:r>
              <a:rPr lang="en-GB" dirty="0"/>
              <a:t>The Hague, 05 Februar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5B1CFFF-ED75-413E-8809-1CEEC4C09D63}" type="slidenum">
              <a:rPr lang="en-US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340677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dirty="0" smtClean="0"/>
              <a:t>EPPO alongside Eurojust</a:t>
            </a:r>
            <a:endParaRPr lang="en-GB" dirty="0"/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457200" y="1268413"/>
            <a:ext cx="8229600" cy="4857750"/>
          </a:xfrm>
        </p:spPr>
        <p:txBody>
          <a:bodyPr/>
          <a:lstStyle/>
          <a:p>
            <a:pPr eaLnBrk="1" hangingPunct="1">
              <a:buFont typeface="Arial" pitchFamily="34" charset="0"/>
              <a:buNone/>
            </a:pPr>
            <a:endParaRPr lang="en-GB" altLang="en-US" sz="2400" dirty="0" smtClean="0"/>
          </a:p>
          <a:p>
            <a:pPr eaLnBrk="1" hangingPunct="1"/>
            <a:r>
              <a:rPr lang="en-GB" altLang="en-US" sz="2800" b="1" dirty="0" smtClean="0">
                <a:solidFill>
                  <a:srgbClr val="FF0000"/>
                </a:solidFill>
              </a:rPr>
              <a:t>Establishment of the EPPO by enhanced cooperation:</a:t>
            </a:r>
            <a:r>
              <a:rPr lang="en-GB" altLang="en-US" sz="2800" b="1" dirty="0" smtClean="0"/>
              <a:t> </a:t>
            </a:r>
            <a:r>
              <a:rPr lang="en-GB" altLang="en-US" sz="2800" dirty="0" smtClean="0"/>
              <a:t>Eurojust will be the necessary coordinator between the participating and non-participating Member States</a:t>
            </a:r>
          </a:p>
          <a:p>
            <a:pPr eaLnBrk="1" hangingPunct="1">
              <a:buFont typeface="Arial" pitchFamily="34" charset="0"/>
              <a:buNone/>
            </a:pPr>
            <a:endParaRPr lang="en-GB" altLang="en-US" sz="2800" dirty="0" smtClean="0"/>
          </a:p>
          <a:p>
            <a:pPr eaLnBrk="1" hangingPunct="1"/>
            <a:r>
              <a:rPr lang="en-GB" altLang="en-US" sz="2800" b="1" dirty="0" smtClean="0">
                <a:solidFill>
                  <a:srgbClr val="FF0000"/>
                </a:solidFill>
              </a:rPr>
              <a:t>Coordination </a:t>
            </a:r>
            <a:r>
              <a:rPr lang="en-GB" altLang="en-US" sz="2800" b="1" dirty="0" smtClean="0">
                <a:solidFill>
                  <a:srgbClr val="FF0000"/>
                </a:solidFill>
              </a:rPr>
              <a:t>in relation to connected crime cases: </a:t>
            </a:r>
            <a:r>
              <a:rPr lang="en-GB" altLang="en-US" sz="2800" dirty="0" smtClean="0"/>
              <a:t>Eurojust is competent to act in other types of offences committed and will coordinate efforts of the EPPO and competent national authorities</a:t>
            </a:r>
          </a:p>
          <a:p>
            <a:pPr eaLnBrk="1" hangingPunct="1">
              <a:buFont typeface="Arial" pitchFamily="34" charset="0"/>
              <a:buNone/>
            </a:pPr>
            <a:endParaRPr lang="en-GB" altLang="en-US" sz="2400" dirty="0" smtClean="0"/>
          </a:p>
          <a:p>
            <a:pPr eaLnBrk="1" hangingPunct="1">
              <a:buFont typeface="Arial" pitchFamily="34" charset="0"/>
              <a:buNone/>
            </a:pPr>
            <a:endParaRPr lang="en-GB" altLang="en-US" sz="2400" b="1" dirty="0" smtClean="0"/>
          </a:p>
          <a:p>
            <a:pPr eaLnBrk="1" hangingPunct="1">
              <a:buFont typeface="Arial" pitchFamily="34" charset="0"/>
              <a:buNone/>
            </a:pPr>
            <a:endParaRPr lang="en-GB" altLang="en-US" sz="2400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The Dutch House of Representatives</a:t>
            </a:r>
          </a:p>
          <a:p>
            <a:pPr>
              <a:defRPr/>
            </a:pPr>
            <a:r>
              <a:rPr lang="en-GB" dirty="0"/>
              <a:t>The Hague, 05 Februar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39E8AE-96DE-466C-8341-C910CB151A9F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58709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600" dirty="0" smtClean="0"/>
              <a:t>EPPO &amp; Eurojust: ‘</a:t>
            </a:r>
            <a:r>
              <a:rPr lang="en-GB" sz="3600" i="1" dirty="0" smtClean="0"/>
              <a:t>special relationship</a:t>
            </a:r>
            <a:r>
              <a:rPr lang="en-GB" sz="3600" dirty="0" smtClean="0"/>
              <a:t>’ 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413"/>
            <a:ext cx="8229600" cy="485775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Sharing </a:t>
            </a:r>
            <a:r>
              <a:rPr lang="en-GB" sz="2400" b="1" dirty="0" smtClean="0"/>
              <a:t>expertise </a:t>
            </a:r>
            <a:r>
              <a:rPr lang="en-GB" sz="2400" b="1" dirty="0" smtClean="0"/>
              <a:t>and experience </a:t>
            </a:r>
            <a:r>
              <a:rPr lang="en-GB" sz="2400" dirty="0" smtClean="0"/>
              <a:t>in judicial cooperation and coordination that Eurojust has gained over the past decade, e.g. JITs, EAW, conflicts of jurisdiction, relations with third States and JHA partners   </a:t>
            </a:r>
            <a:endParaRPr lang="en-GB" sz="2400" b="1" dirty="0" smtClean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Utilising </a:t>
            </a:r>
            <a:r>
              <a:rPr lang="en-GB" sz="2400" b="1" dirty="0" err="1" smtClean="0"/>
              <a:t>Eurojust’s</a:t>
            </a:r>
            <a:r>
              <a:rPr lang="en-GB" sz="2400" b="1" dirty="0" smtClean="0"/>
              <a:t> tools</a:t>
            </a:r>
            <a:r>
              <a:rPr lang="en-GB" sz="2400" dirty="0" smtClean="0"/>
              <a:t>, e.g. coordination meetings, coordination centres, Case Management System</a:t>
            </a: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defRPr/>
            </a:pPr>
            <a:endParaRPr lang="en-GB" sz="2400" u="sng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Shared services</a:t>
            </a:r>
            <a:r>
              <a:rPr lang="en-GB" sz="2400" dirty="0" smtClean="0"/>
              <a:t>: close ties and infrastructure to generate economies of scale </a:t>
            </a:r>
            <a:r>
              <a:rPr lang="en-GB" sz="2400" u="sng" dirty="0" smtClean="0"/>
              <a:t>but</a:t>
            </a:r>
            <a:r>
              <a:rPr lang="en-GB" sz="2400" dirty="0" smtClean="0"/>
              <a:t> without leading to the detriment of Eurojust 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The Dutch House of Representatives</a:t>
            </a:r>
          </a:p>
          <a:p>
            <a:pPr>
              <a:defRPr/>
            </a:pPr>
            <a:r>
              <a:rPr lang="en-GB" dirty="0"/>
              <a:t>The Hague, 05 Februar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8BC3CF-6DBF-4BF0-A04E-F3E0C876A1DD}" type="slidenum">
              <a:rPr lang="en-US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563493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dirty="0" smtClean="0"/>
              <a:t>What’s next</a:t>
            </a:r>
            <a:endParaRPr lang="en-GB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413"/>
            <a:ext cx="8229600" cy="4857750"/>
          </a:xfrm>
        </p:spPr>
        <p:txBody>
          <a:bodyPr rtlCol="0">
            <a:normAutofit fontScale="92500"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Development of both Regulations in parallel as provisions on </a:t>
            </a:r>
            <a:r>
              <a:rPr lang="en-GB" sz="2400" b="1" i="1" dirty="0" smtClean="0"/>
              <a:t>‘</a:t>
            </a:r>
            <a:r>
              <a:rPr lang="en-GB" sz="2400" b="1" i="1" dirty="0" smtClean="0"/>
              <a:t>s</a:t>
            </a:r>
            <a:r>
              <a:rPr lang="en-GB" sz="2400" b="1" i="1" dirty="0" smtClean="0"/>
              <a:t>pecial relationship</a:t>
            </a:r>
            <a:r>
              <a:rPr lang="en-GB" sz="2400" b="1" dirty="0" smtClean="0"/>
              <a:t>’ </a:t>
            </a:r>
            <a:r>
              <a:rPr lang="en-GB" sz="2400" b="1" dirty="0" smtClean="0"/>
              <a:t>need to correspond 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Scenario of establishment of the EPPO by enhanced cooperation to be taken into consideration 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Outcome of the mutual evaluations in the Member States on the implementation of the Council Decision on Eurojust 2008 to be taken into account  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en-GB" sz="2400" b="1" dirty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Eurojust expectation: </a:t>
            </a:r>
            <a:r>
              <a:rPr lang="en-GB" sz="2400" b="1" dirty="0" smtClean="0">
                <a:solidFill>
                  <a:srgbClr val="FF0000"/>
                </a:solidFill>
              </a:rPr>
              <a:t>this reform will be a step forward</a:t>
            </a:r>
            <a:endParaRPr lang="en-GB" sz="2400" b="1" dirty="0"/>
          </a:p>
          <a:p>
            <a:pPr eaLnBrk="1" fontAlgn="auto" hangingPunct="1">
              <a:spcAft>
                <a:spcPts val="0"/>
              </a:spcAft>
              <a:defRPr/>
            </a:pP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GB" sz="2400" b="1" dirty="0" smtClean="0"/>
              <a:t>Eurojust initiatives</a:t>
            </a:r>
            <a:r>
              <a:rPr lang="en-GB" sz="2400" i="1" dirty="0" smtClean="0"/>
              <a:t>: Eurojust </a:t>
            </a:r>
            <a:r>
              <a:rPr lang="en-GB" sz="2400" i="1" dirty="0" smtClean="0"/>
              <a:t>seminar 14-15 Oct 2013: “The new draft Regulation on Eurojust: an improvement in the fight against Cross-Border Crime?” </a:t>
            </a:r>
            <a:r>
              <a:rPr lang="en-GB" sz="2400" i="1" dirty="0"/>
              <a:t> </a:t>
            </a:r>
            <a:endParaRPr lang="en-GB" sz="2400" i="1" dirty="0" smtClean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GB" sz="1900" i="1" dirty="0" smtClean="0"/>
              <a:t>      Report published as Council Document 17188/1/13 REV1 of  4 December 2013</a:t>
            </a:r>
            <a:endParaRPr lang="en-GB" sz="1900" i="1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b="1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GB" sz="2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Dutch House of Representatives</a:t>
            </a:r>
          </a:p>
          <a:p>
            <a:r>
              <a:rPr lang="en-GB" dirty="0"/>
              <a:t>The Hague, 05 February 2014</a:t>
            </a:r>
          </a:p>
        </p:txBody>
      </p:sp>
    </p:spTree>
    <p:extLst>
      <p:ext uri="{BB962C8B-B14F-4D97-AF65-F5344CB8AC3E}">
        <p14:creationId xmlns:p14="http://schemas.microsoft.com/office/powerpoint/2010/main" val="273571720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Michele Coninsx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President</a:t>
            </a:r>
          </a:p>
          <a:p>
            <a:r>
              <a:rPr lang="en-GB" dirty="0" smtClean="0"/>
              <a:t>National Member for Belgium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11560" y="3717032"/>
            <a:ext cx="7920880" cy="504825"/>
          </a:xfrm>
        </p:spPr>
        <p:txBody>
          <a:bodyPr/>
          <a:lstStyle/>
          <a:p>
            <a:r>
              <a:rPr lang="en-GB" dirty="0" smtClean="0"/>
              <a:t>mconinsx@eurojust.europa.eu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1560" y="4220319"/>
            <a:ext cx="7920880" cy="504825"/>
          </a:xfrm>
        </p:spPr>
        <p:txBody>
          <a:bodyPr/>
          <a:lstStyle/>
          <a:p>
            <a:r>
              <a:rPr lang="en-GB" dirty="0" smtClean="0"/>
              <a:t>Tel  00 31 70 412 51 20</a:t>
            </a:r>
          </a:p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rengthening Eurojust and Creating synergies with a European Public Prosecutor’s Office </a:t>
            </a:r>
            <a:r>
              <a:rPr lang="en-US" dirty="0" smtClean="0">
                <a:solidFill>
                  <a:srgbClr val="FFFF99"/>
                </a:solidFill>
                <a:latin typeface="Verdana" pitchFamily="34" charset="0"/>
              </a:rPr>
              <a:t/>
            </a:r>
            <a:br>
              <a:rPr lang="en-US" dirty="0" smtClean="0">
                <a:solidFill>
                  <a:srgbClr val="FFFF99"/>
                </a:solidFill>
                <a:latin typeface="Verdana" pitchFamily="34" charset="0"/>
              </a:rPr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b="1" dirty="0" err="1" smtClean="0"/>
              <a:t>Michèle</a:t>
            </a:r>
            <a:r>
              <a:rPr lang="en-US" b="1" dirty="0" smtClean="0"/>
              <a:t> Coninsx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President EUROJUST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National Member for Belgium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The Dutch House of Representatives</a:t>
            </a:r>
          </a:p>
          <a:p>
            <a:r>
              <a:rPr lang="en-US" dirty="0" smtClean="0"/>
              <a:t>The Hague, 05 February 2014</a:t>
            </a:r>
            <a:endParaRPr lang="en-US" dirty="0"/>
          </a:p>
        </p:txBody>
      </p:sp>
    </p:spTree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9512" y="188640"/>
            <a:ext cx="8261350" cy="1080120"/>
          </a:xfrm>
        </p:spPr>
        <p:txBody>
          <a:bodyPr/>
          <a:lstStyle/>
          <a:p>
            <a:pPr eaLnBrk="1" hangingPunct="1">
              <a:defRPr/>
            </a:pPr>
            <a:r>
              <a:rPr lang="nl-BE" sz="36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Eurojust</a:t>
            </a:r>
            <a:endParaRPr lang="en-GB" sz="3600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9458" name="Content Placeholder 5"/>
          <p:cNvSpPr>
            <a:spLocks noGrp="1"/>
          </p:cNvSpPr>
          <p:nvPr>
            <p:ph idx="1"/>
          </p:nvPr>
        </p:nvSpPr>
        <p:spPr>
          <a:xfrm>
            <a:off x="49213" y="1359932"/>
            <a:ext cx="9144000" cy="5184551"/>
          </a:xfrm>
        </p:spPr>
        <p:txBody>
          <a:bodyPr/>
          <a:lstStyle/>
          <a:p>
            <a:pPr algn="ctr" eaLnBrk="1" hangingPunct="1"/>
            <a:endParaRPr lang="nl-BE" dirty="0" smtClean="0"/>
          </a:p>
          <a:p>
            <a:pPr algn="ctr" eaLnBrk="1" hangingPunct="1"/>
            <a:endParaRPr lang="nl-BE" dirty="0" smtClean="0"/>
          </a:p>
          <a:p>
            <a:pPr algn="ctr" eaLnBrk="1" hangingPunct="1"/>
            <a:endParaRPr lang="nl-BE" dirty="0" smtClean="0"/>
          </a:p>
          <a:p>
            <a:pPr algn="ctr" eaLnBrk="1" hangingPunct="1"/>
            <a:endParaRPr lang="nl-BE" dirty="0" smtClean="0"/>
          </a:p>
          <a:p>
            <a:pPr algn="ctr" eaLnBrk="1" hangingPunct="1"/>
            <a:endParaRPr lang="nl-BE" dirty="0" smtClean="0"/>
          </a:p>
          <a:p>
            <a:pPr algn="ctr" eaLnBrk="1" hangingPunct="1">
              <a:spcBef>
                <a:spcPts val="3000"/>
              </a:spcBef>
            </a:pPr>
            <a:endParaRPr lang="nl-BE" dirty="0" smtClean="0"/>
          </a:p>
          <a:p>
            <a:pPr algn="ctr" eaLnBrk="1" hangingPunct="1">
              <a:spcBef>
                <a:spcPts val="3000"/>
              </a:spcBef>
            </a:pPr>
            <a:endParaRPr lang="nl-BE" b="1" dirty="0" smtClean="0">
              <a:cs typeface="Times New Roman" pitchFamily="18" charset="0"/>
            </a:endParaRPr>
          </a:p>
          <a:p>
            <a:pPr algn="ctr" eaLnBrk="1" hangingPunct="1">
              <a:spcBef>
                <a:spcPts val="3000"/>
              </a:spcBef>
            </a:pPr>
            <a:endParaRPr lang="nl-BE" b="1" dirty="0" smtClean="0">
              <a:cs typeface="Times New Roman" pitchFamily="18" charset="0"/>
            </a:endParaRPr>
          </a:p>
          <a:p>
            <a:pPr algn="ctr" eaLnBrk="1" hangingPunct="1">
              <a:spcBef>
                <a:spcPts val="4000"/>
              </a:spcBef>
            </a:pPr>
            <a:endParaRPr lang="en-GB" b="1" dirty="0" smtClean="0"/>
          </a:p>
        </p:txBody>
      </p:sp>
      <p:sp>
        <p:nvSpPr>
          <p:cNvPr id="19459" name="Line 2"/>
          <p:cNvSpPr>
            <a:spLocks noChangeShapeType="1"/>
          </p:cNvSpPr>
          <p:nvPr/>
        </p:nvSpPr>
        <p:spPr bwMode="auto">
          <a:xfrm flipV="1">
            <a:off x="4140200" y="2853878"/>
            <a:ext cx="3251200" cy="88582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nl-BE"/>
          </a:p>
        </p:txBody>
      </p:sp>
      <p:sp>
        <p:nvSpPr>
          <p:cNvPr id="19460" name="Line 3"/>
          <p:cNvSpPr>
            <a:spLocks noChangeShapeType="1"/>
          </p:cNvSpPr>
          <p:nvPr/>
        </p:nvSpPr>
        <p:spPr bwMode="auto">
          <a:xfrm>
            <a:off x="900113" y="2736403"/>
            <a:ext cx="3302000" cy="928688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1" name="Line 4"/>
          <p:cNvSpPr>
            <a:spLocks noChangeShapeType="1"/>
          </p:cNvSpPr>
          <p:nvPr/>
        </p:nvSpPr>
        <p:spPr bwMode="auto">
          <a:xfrm flipH="1">
            <a:off x="4140200" y="1772791"/>
            <a:ext cx="71438" cy="169862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2" name="Line 5"/>
          <p:cNvSpPr>
            <a:spLocks noChangeShapeType="1"/>
          </p:cNvSpPr>
          <p:nvPr/>
        </p:nvSpPr>
        <p:spPr bwMode="auto">
          <a:xfrm>
            <a:off x="3563938" y="1801366"/>
            <a:ext cx="638175" cy="1785937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3" name="Line 6"/>
          <p:cNvSpPr>
            <a:spLocks noChangeShapeType="1"/>
          </p:cNvSpPr>
          <p:nvPr/>
        </p:nvSpPr>
        <p:spPr bwMode="auto">
          <a:xfrm>
            <a:off x="3132138" y="1944241"/>
            <a:ext cx="1008062" cy="146685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4" name="Line 7"/>
          <p:cNvSpPr>
            <a:spLocks noChangeShapeType="1"/>
          </p:cNvSpPr>
          <p:nvPr/>
        </p:nvSpPr>
        <p:spPr bwMode="auto">
          <a:xfrm>
            <a:off x="2555875" y="2017266"/>
            <a:ext cx="1752600" cy="1570037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5" name="Line 8"/>
          <p:cNvSpPr>
            <a:spLocks noChangeShapeType="1"/>
          </p:cNvSpPr>
          <p:nvPr/>
        </p:nvSpPr>
        <p:spPr bwMode="auto">
          <a:xfrm>
            <a:off x="2268538" y="2412553"/>
            <a:ext cx="2070100" cy="1201738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6" name="Line 9"/>
          <p:cNvSpPr>
            <a:spLocks noChangeShapeType="1"/>
          </p:cNvSpPr>
          <p:nvPr/>
        </p:nvSpPr>
        <p:spPr bwMode="auto">
          <a:xfrm>
            <a:off x="2052638" y="2809428"/>
            <a:ext cx="2309812" cy="890588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7" name="Line 10"/>
          <p:cNvSpPr>
            <a:spLocks noChangeShapeType="1"/>
          </p:cNvSpPr>
          <p:nvPr/>
        </p:nvSpPr>
        <p:spPr bwMode="auto">
          <a:xfrm>
            <a:off x="1979613" y="3277741"/>
            <a:ext cx="2390775" cy="461962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8" name="Line 11"/>
          <p:cNvSpPr>
            <a:spLocks noChangeShapeType="1"/>
          </p:cNvSpPr>
          <p:nvPr/>
        </p:nvSpPr>
        <p:spPr bwMode="auto">
          <a:xfrm>
            <a:off x="1979613" y="3746053"/>
            <a:ext cx="2390775" cy="122238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69" name="Line 12"/>
          <p:cNvSpPr>
            <a:spLocks noChangeShapeType="1"/>
          </p:cNvSpPr>
          <p:nvPr/>
        </p:nvSpPr>
        <p:spPr bwMode="auto">
          <a:xfrm flipV="1">
            <a:off x="1979613" y="3817491"/>
            <a:ext cx="2390775" cy="369887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0" name="Line 13"/>
          <p:cNvSpPr>
            <a:spLocks noChangeShapeType="1"/>
          </p:cNvSpPr>
          <p:nvPr/>
        </p:nvSpPr>
        <p:spPr bwMode="auto">
          <a:xfrm flipV="1">
            <a:off x="2124075" y="3817491"/>
            <a:ext cx="2230438" cy="677862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1" name="Line 14"/>
          <p:cNvSpPr>
            <a:spLocks noChangeShapeType="1"/>
          </p:cNvSpPr>
          <p:nvPr/>
        </p:nvSpPr>
        <p:spPr bwMode="auto">
          <a:xfrm flipV="1">
            <a:off x="2484438" y="3782566"/>
            <a:ext cx="1831975" cy="101600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2" name="Line 15"/>
          <p:cNvSpPr>
            <a:spLocks noChangeShapeType="1"/>
          </p:cNvSpPr>
          <p:nvPr/>
        </p:nvSpPr>
        <p:spPr bwMode="auto">
          <a:xfrm flipV="1">
            <a:off x="2700338" y="3817491"/>
            <a:ext cx="1636712" cy="141605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3" name="Line 16"/>
          <p:cNvSpPr>
            <a:spLocks noChangeShapeType="1"/>
          </p:cNvSpPr>
          <p:nvPr/>
        </p:nvSpPr>
        <p:spPr bwMode="auto">
          <a:xfrm flipV="1">
            <a:off x="3278188" y="3885753"/>
            <a:ext cx="952500" cy="154305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4" name="Line 17"/>
          <p:cNvSpPr>
            <a:spLocks noChangeShapeType="1"/>
          </p:cNvSpPr>
          <p:nvPr/>
        </p:nvSpPr>
        <p:spPr bwMode="auto">
          <a:xfrm flipV="1">
            <a:off x="3779838" y="3852416"/>
            <a:ext cx="400050" cy="175577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5" name="Line 18"/>
          <p:cNvSpPr>
            <a:spLocks noChangeShapeType="1"/>
          </p:cNvSpPr>
          <p:nvPr/>
        </p:nvSpPr>
        <p:spPr bwMode="auto">
          <a:xfrm flipH="1" flipV="1">
            <a:off x="4067175" y="3717478"/>
            <a:ext cx="360363" cy="1944688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6" name="Line 19"/>
          <p:cNvSpPr>
            <a:spLocks noChangeShapeType="1"/>
          </p:cNvSpPr>
          <p:nvPr/>
        </p:nvSpPr>
        <p:spPr bwMode="auto">
          <a:xfrm flipH="1" flipV="1">
            <a:off x="4140200" y="3852416"/>
            <a:ext cx="955675" cy="175577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7" name="Line 20"/>
          <p:cNvSpPr>
            <a:spLocks noChangeShapeType="1"/>
          </p:cNvSpPr>
          <p:nvPr/>
        </p:nvSpPr>
        <p:spPr bwMode="auto">
          <a:xfrm flipH="1" flipV="1">
            <a:off x="4140200" y="3852416"/>
            <a:ext cx="1514475" cy="144780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8" name="Line 21"/>
          <p:cNvSpPr>
            <a:spLocks noChangeShapeType="1"/>
          </p:cNvSpPr>
          <p:nvPr/>
        </p:nvSpPr>
        <p:spPr bwMode="auto">
          <a:xfrm flipH="1" flipV="1">
            <a:off x="4140200" y="3854003"/>
            <a:ext cx="1912938" cy="120015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79" name="Line 22"/>
          <p:cNvSpPr>
            <a:spLocks noChangeShapeType="1"/>
          </p:cNvSpPr>
          <p:nvPr/>
        </p:nvSpPr>
        <p:spPr bwMode="auto">
          <a:xfrm flipH="1" flipV="1">
            <a:off x="4140200" y="3854003"/>
            <a:ext cx="2070100" cy="830263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0" name="Line 23"/>
          <p:cNvSpPr>
            <a:spLocks noChangeShapeType="1"/>
          </p:cNvSpPr>
          <p:nvPr/>
        </p:nvSpPr>
        <p:spPr bwMode="auto">
          <a:xfrm flipH="1" flipV="1">
            <a:off x="4140200" y="3852415"/>
            <a:ext cx="2182812" cy="56197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1" name="Line 24"/>
          <p:cNvSpPr>
            <a:spLocks noChangeShapeType="1"/>
          </p:cNvSpPr>
          <p:nvPr/>
        </p:nvSpPr>
        <p:spPr bwMode="auto">
          <a:xfrm flipH="1">
            <a:off x="4140200" y="3619053"/>
            <a:ext cx="2279650" cy="19367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2" name="Line 25"/>
          <p:cNvSpPr>
            <a:spLocks noChangeShapeType="1"/>
          </p:cNvSpPr>
          <p:nvPr/>
        </p:nvSpPr>
        <p:spPr bwMode="auto">
          <a:xfrm flipH="1">
            <a:off x="4140200" y="3349178"/>
            <a:ext cx="2390775" cy="40005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3" name="Line 26"/>
          <p:cNvSpPr>
            <a:spLocks noChangeShapeType="1"/>
          </p:cNvSpPr>
          <p:nvPr/>
        </p:nvSpPr>
        <p:spPr bwMode="auto">
          <a:xfrm flipH="1">
            <a:off x="4140200" y="2925316"/>
            <a:ext cx="2230438" cy="73977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4" name="Line 28"/>
          <p:cNvSpPr>
            <a:spLocks noChangeShapeType="1"/>
          </p:cNvSpPr>
          <p:nvPr/>
        </p:nvSpPr>
        <p:spPr bwMode="auto">
          <a:xfrm flipH="1">
            <a:off x="4140200" y="2449066"/>
            <a:ext cx="2070100" cy="1169987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5" name="Line 29"/>
          <p:cNvSpPr>
            <a:spLocks noChangeShapeType="1"/>
          </p:cNvSpPr>
          <p:nvPr/>
        </p:nvSpPr>
        <p:spPr bwMode="auto">
          <a:xfrm flipH="1">
            <a:off x="4140200" y="2061716"/>
            <a:ext cx="1593850" cy="1477962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6" name="Line 30"/>
          <p:cNvSpPr>
            <a:spLocks noChangeShapeType="1"/>
          </p:cNvSpPr>
          <p:nvPr/>
        </p:nvSpPr>
        <p:spPr bwMode="auto">
          <a:xfrm flipH="1">
            <a:off x="4140200" y="1801366"/>
            <a:ext cx="1193800" cy="1662112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sp>
        <p:nvSpPr>
          <p:cNvPr id="19487" name="Line 31"/>
          <p:cNvSpPr>
            <a:spLocks noChangeShapeType="1"/>
          </p:cNvSpPr>
          <p:nvPr/>
        </p:nvSpPr>
        <p:spPr bwMode="auto">
          <a:xfrm flipH="1">
            <a:off x="4068763" y="1772791"/>
            <a:ext cx="663575" cy="1749425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nl-BE"/>
          </a:p>
        </p:txBody>
      </p:sp>
      <p:pic>
        <p:nvPicPr>
          <p:cNvPr id="19488" name="Picture 159" descr="nederla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40200" y="5662166"/>
            <a:ext cx="481013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89" name="Picture 160" descr="Denemarken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95425" y="3547616"/>
            <a:ext cx="484188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0" name="Picture 161" descr="belgië"/>
          <p:cNvPicPr preferRelativeResize="0"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95425" y="3142803"/>
            <a:ext cx="484188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1" name="Picture 162" descr="cyprus"/>
          <p:cNvPicPr preferRelativeResize="0"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24300" y="1485453"/>
            <a:ext cx="479425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2" name="Picture 163" descr="duitsland"/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8538" y="1917253"/>
            <a:ext cx="481012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3" name="Picture 164" descr="estland"/>
          <p:cNvPicPr preferRelativeResize="0"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23012" y="4252466"/>
            <a:ext cx="479425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4" name="Picture 165" descr="finland"/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98419" y="3142803"/>
            <a:ext cx="481012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5" name="Picture 166" descr="frankrijk"/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076825" y="1701353"/>
            <a:ext cx="482600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6" name="Picture 167" descr="griekenland"/>
          <p:cNvPicPr preferRelativeResize="0"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500563" y="1556891"/>
            <a:ext cx="481012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7" name="Picture 168" descr="hongarije"/>
          <p:cNvPicPr preferRelativeResize="0"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180932" y="2709416"/>
            <a:ext cx="481012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8" name="Picture 169" descr="ierland"/>
          <p:cNvPicPr preferRelativeResize="0"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916238" y="5444678"/>
            <a:ext cx="481012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499" name="Picture 170" descr="letland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566862" y="3982590"/>
            <a:ext cx="481013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0" name="Picture 171" descr="litouwen"/>
          <p:cNvPicPr preferRelativeResize="0"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737519" y="2674490"/>
            <a:ext cx="484188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1" name="Picture 172" descr="luxemburg"/>
          <p:cNvPicPr preferRelativeResize="0"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419850" y="3885753"/>
            <a:ext cx="484187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2" name="Picture 173" descr="malta"/>
          <p:cNvPicPr preferRelativeResize="0"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339975" y="5157341"/>
            <a:ext cx="482600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3" name="Picture 174" descr="oostenrijk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64163" y="5301803"/>
            <a:ext cx="484187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4" name="Picture 175" descr="polen"/>
          <p:cNvPicPr preferRelativeResize="0"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156325" y="4644578"/>
            <a:ext cx="482600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5" name="Picture 176" descr="portugal"/>
          <p:cNvPicPr preferRelativeResize="0">
            <a:picLocks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771775" y="1701353"/>
            <a:ext cx="482600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6" name="Picture 177" descr="slowakije"/>
          <p:cNvPicPr preferRelativeResize="0">
            <a:picLocks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348038" y="1556891"/>
            <a:ext cx="482600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7" name="Picture 178" descr="spanje"/>
          <p:cNvPicPr preferRelativeResize="0">
            <a:picLocks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651500" y="1917253"/>
            <a:ext cx="481013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8" name="Picture 179" descr="tsjechië"/>
          <p:cNvPicPr preferRelativeResize="0">
            <a:picLocks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1666875" y="4414391"/>
            <a:ext cx="482600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09" name="Picture 180" descr="verenigd koninkrijk"/>
          <p:cNvPicPr preferRelativeResize="0">
            <a:picLocks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5940425" y="5012878"/>
            <a:ext cx="481013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0" name="Picture 181" descr="zweden"/>
          <p:cNvPicPr preferRelativeResize="0">
            <a:picLocks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051050" y="4796978"/>
            <a:ext cx="481013" cy="2714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1" name="Picture 182" descr="EurojustCMYK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619500" y="3142803"/>
            <a:ext cx="1165225" cy="9699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2" name="Picture 183" descr="slovenië"/>
          <p:cNvPicPr preferRelativeResize="0">
            <a:picLocks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492500" y="5589141"/>
            <a:ext cx="479425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3" name="Picture 184" descr="Italië"/>
          <p:cNvPicPr preferRelativeResize="0">
            <a:picLocks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4787900" y="5589141"/>
            <a:ext cx="484188" cy="269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4" name="Picture 185" descr="RMNA0001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5915025" y="2350641"/>
            <a:ext cx="504825" cy="29051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5" name="Picture 186" descr="BULG0001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1908175" y="2277616"/>
            <a:ext cx="504825" cy="29051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6" name="Picture 187" descr="UNST0001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7380288" y="2636391"/>
            <a:ext cx="481759" cy="2889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7" name="Picture 188" descr="NORW0001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468313" y="2483991"/>
            <a:ext cx="477837" cy="300037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518" name="Content Placeholder 67" descr="C:\Documents and Settings\mbeeckman\My Documents\My Pictures\croatia.gif"/>
          <p:cNvPicPr>
            <a:picLocks noGrp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6398419" y="3474591"/>
            <a:ext cx="530225" cy="3079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sp>
        <p:nvSpPr>
          <p:cNvPr id="19520" name="Rectangle 189"/>
          <p:cNvSpPr>
            <a:spLocks noChangeArrowheads="1"/>
          </p:cNvSpPr>
          <p:nvPr/>
        </p:nvSpPr>
        <p:spPr bwMode="auto">
          <a:xfrm rot="10800000" flipV="1">
            <a:off x="3201988" y="4415481"/>
            <a:ext cx="2057400" cy="923330"/>
          </a:xfrm>
          <a:prstGeom prst="rect">
            <a:avLst/>
          </a:prstGeom>
          <a:solidFill>
            <a:srgbClr val="FFC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en-GB" sz="1800" dirty="0">
                <a:solidFill>
                  <a:srgbClr val="FF0000"/>
                </a:solidFill>
                <a:latin typeface="Verdana" pitchFamily="34" charset="0"/>
              </a:rPr>
              <a:t>More e</a:t>
            </a:r>
            <a:r>
              <a:rPr lang="en-GB" sz="1800" dirty="0" smtClean="0">
                <a:solidFill>
                  <a:srgbClr val="FF0000"/>
                </a:solidFill>
                <a:latin typeface="Verdana" pitchFamily="34" charset="0"/>
              </a:rPr>
              <a:t>ffective  </a:t>
            </a:r>
            <a:r>
              <a:rPr lang="en-GB" sz="1800" b="1" dirty="0" smtClean="0">
                <a:solidFill>
                  <a:srgbClr val="FF0000"/>
                </a:solidFill>
                <a:latin typeface="Verdana" pitchFamily="34" charset="0"/>
              </a:rPr>
              <a:t>Coordination</a:t>
            </a:r>
            <a:r>
              <a:rPr lang="en-GB" sz="1800" dirty="0" smtClean="0">
                <a:solidFill>
                  <a:srgbClr val="FF0000"/>
                </a:solidFill>
                <a:latin typeface="Verdana" pitchFamily="34" charset="0"/>
              </a:rPr>
              <a:t> </a:t>
            </a:r>
            <a:r>
              <a:rPr lang="en-GB" sz="1800" dirty="0">
                <a:solidFill>
                  <a:srgbClr val="FF0000"/>
                </a:solidFill>
                <a:latin typeface="Verdana" pitchFamily="34" charset="0"/>
              </a:rPr>
              <a:t>&amp; </a:t>
            </a:r>
            <a:r>
              <a:rPr lang="en-GB" sz="1800" b="1" dirty="0" smtClean="0">
                <a:solidFill>
                  <a:srgbClr val="FF0000"/>
                </a:solidFill>
                <a:latin typeface="Verdana" pitchFamily="34" charset="0"/>
              </a:rPr>
              <a:t>Cooperation</a:t>
            </a:r>
            <a:endParaRPr lang="en-US" sz="1800" b="1" dirty="0">
              <a:solidFill>
                <a:srgbClr val="FF0000"/>
              </a:solidFill>
              <a:latin typeface="Verdana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0" y="1052736"/>
            <a:ext cx="79725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BE" sz="2800" dirty="0" smtClean="0">
                <a:solidFill>
                  <a:srgbClr val="000599"/>
                </a:solidFill>
                <a:latin typeface="Stone Sans Semibold"/>
              </a:rPr>
              <a:t>28 EU </a:t>
            </a:r>
            <a:r>
              <a:rPr lang="nl-BE" sz="2800" dirty="0" smtClean="0">
                <a:solidFill>
                  <a:srgbClr val="003399"/>
                </a:solidFill>
                <a:latin typeface="Stone Sans Semibold"/>
              </a:rPr>
              <a:t>PROSECUTORS/JUDGES</a:t>
            </a:r>
            <a:r>
              <a:rPr lang="nl-BE" sz="2800" dirty="0" smtClean="0">
                <a:solidFill>
                  <a:srgbClr val="000599"/>
                </a:solidFill>
                <a:latin typeface="Stone Sans Semibold"/>
              </a:rPr>
              <a:t> </a:t>
            </a:r>
            <a:endParaRPr lang="en-GB" sz="2800" dirty="0">
              <a:latin typeface="Stone Sans Semibold"/>
            </a:endParaRPr>
          </a:p>
        </p:txBody>
      </p:sp>
      <p:cxnSp>
        <p:nvCxnSpPr>
          <p:cNvPr id="70" name="Straight Connector 69"/>
          <p:cNvCxnSpPr>
            <a:stCxn id="19501" idx="1"/>
          </p:cNvCxnSpPr>
          <p:nvPr/>
        </p:nvCxnSpPr>
        <p:spPr>
          <a:xfrm flipH="1" flipV="1">
            <a:off x="4762500" y="3852416"/>
            <a:ext cx="1657350" cy="168275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3" descr="DSC01993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7142163" y="0"/>
            <a:ext cx="2001837" cy="155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Footer Placeholder 71"/>
          <p:cNvSpPr txBox="1">
            <a:spLocks/>
          </p:cNvSpPr>
          <p:nvPr/>
        </p:nvSpPr>
        <p:spPr>
          <a:xfrm>
            <a:off x="620712" y="6508750"/>
            <a:ext cx="12953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71" name="Footer Placeholder 4"/>
          <p:cNvSpPr txBox="1">
            <a:spLocks/>
          </p:cNvSpPr>
          <p:nvPr/>
        </p:nvSpPr>
        <p:spPr>
          <a:xfrm>
            <a:off x="1691680" y="6356350"/>
            <a:ext cx="57606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lvl="0" algn="ctr">
              <a:defRPr/>
            </a:pPr>
            <a:r>
              <a:rPr lang="en-GB" sz="11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The Dutch House of Representatives</a:t>
            </a:r>
          </a:p>
          <a:p>
            <a:pPr lvl="0" algn="ctr">
              <a:defRPr/>
            </a:pPr>
            <a:r>
              <a:rPr lang="en-GB" sz="11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The Hague, 05 February 2014</a:t>
            </a:r>
          </a:p>
        </p:txBody>
      </p:sp>
    </p:spTree>
  </p:cSld>
  <p:clrMapOvr>
    <a:masterClrMapping/>
  </p:clrMapOvr>
  <p:transition advClick="0">
    <p:dissolv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 smtClean="0"/>
              <a:t>Casework 2009-2013</a:t>
            </a:r>
            <a:endParaRPr lang="en-GB" sz="36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Brush/>
                    </a14:imgEffect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1129158"/>
            <a:ext cx="8083624" cy="5720961"/>
          </a:xfrm>
        </p:spPr>
      </p:pic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9692957"/>
              </p:ext>
            </p:extLst>
          </p:nvPr>
        </p:nvGraphicFramePr>
        <p:xfrm>
          <a:off x="1323975" y="1666874"/>
          <a:ext cx="6348413" cy="404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92513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3200" dirty="0" smtClean="0"/>
              <a:t>Requesting/Requested Member States 2013</a:t>
            </a:r>
            <a:endParaRPr lang="en-GB" sz="3200" dirty="0"/>
          </a:p>
        </p:txBody>
      </p:sp>
      <p:grpSp>
        <p:nvGrpSpPr>
          <p:cNvPr id="7" name="Gruppieren 73"/>
          <p:cNvGrpSpPr/>
          <p:nvPr/>
        </p:nvGrpSpPr>
        <p:grpSpPr bwMode="gray">
          <a:xfrm>
            <a:off x="487037" y="1207495"/>
            <a:ext cx="8421238" cy="5470697"/>
            <a:chOff x="862518" y="681942"/>
            <a:chExt cx="8281482" cy="5470697"/>
          </a:xfrm>
          <a:gradFill>
            <a:gsLst>
              <a:gs pos="0">
                <a:schemeClr val="bg1">
                  <a:lumMod val="85000"/>
                </a:schemeClr>
              </a:gs>
              <a:gs pos="100000">
                <a:srgbClr val="9D9D9D"/>
              </a:gs>
            </a:gsLst>
            <a:path path="circle">
              <a:fillToRect r="100000" b="100000"/>
            </a:path>
          </a:gradFill>
          <a:effectLst>
            <a:outerShdw blurRad="127000" dist="50800" dir="2700000" algn="ctr" rotWithShape="0">
              <a:schemeClr val="tx1">
                <a:alpha val="40000"/>
              </a:schemeClr>
            </a:outerShdw>
          </a:effectLst>
        </p:grpSpPr>
        <p:sp>
          <p:nvSpPr>
            <p:cNvPr id="8" name="Israel" descr="© INSCALE GmbH, 05.05.2010&#10;http://www.presentationload.com/"/>
            <p:cNvSpPr>
              <a:spLocks/>
            </p:cNvSpPr>
            <p:nvPr/>
          </p:nvSpPr>
          <p:spPr bwMode="gray">
            <a:xfrm>
              <a:off x="7708694" y="5961001"/>
              <a:ext cx="126932" cy="180633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14" y="64"/>
                </a:cxn>
                <a:cxn ang="0">
                  <a:pos x="27" y="53"/>
                </a:cxn>
                <a:cxn ang="0">
                  <a:pos x="35" y="58"/>
                </a:cxn>
                <a:cxn ang="0">
                  <a:pos x="43" y="58"/>
                </a:cxn>
                <a:cxn ang="0">
                  <a:pos x="41" y="50"/>
                </a:cxn>
                <a:cxn ang="0">
                  <a:pos x="38" y="40"/>
                </a:cxn>
                <a:cxn ang="0">
                  <a:pos x="43" y="37"/>
                </a:cxn>
                <a:cxn ang="0">
                  <a:pos x="33" y="19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1" y="0"/>
                </a:cxn>
                <a:cxn ang="0">
                  <a:pos x="21" y="6"/>
                </a:cxn>
                <a:cxn ang="0">
                  <a:pos x="21" y="16"/>
                </a:cxn>
                <a:cxn ang="0">
                  <a:pos x="14" y="15"/>
                </a:cxn>
                <a:cxn ang="0">
                  <a:pos x="10" y="19"/>
                </a:cxn>
                <a:cxn ang="0">
                  <a:pos x="4" y="20"/>
                </a:cxn>
                <a:cxn ang="0">
                  <a:pos x="0" y="22"/>
                </a:cxn>
                <a:cxn ang="0">
                  <a:pos x="1" y="32"/>
                </a:cxn>
                <a:cxn ang="0">
                  <a:pos x="6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7"/>
                </a:cxn>
                <a:cxn ang="0">
                  <a:pos x="4" y="64"/>
                </a:cxn>
              </a:cxnLst>
              <a:rect l="0" t="0" r="r" b="b"/>
              <a:pathLst>
                <a:path w="45" h="64">
                  <a:moveTo>
                    <a:pt x="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6" y="58"/>
                    <a:pt x="20" y="53"/>
                    <a:pt x="27" y="53"/>
                  </a:cubicBezTo>
                  <a:cubicBezTo>
                    <a:pt x="34" y="53"/>
                    <a:pt x="35" y="58"/>
                    <a:pt x="35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5" y="53"/>
                    <a:pt x="41" y="50"/>
                  </a:cubicBezTo>
                  <a:cubicBezTo>
                    <a:pt x="38" y="48"/>
                    <a:pt x="38" y="40"/>
                    <a:pt x="38" y="40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7" y="9"/>
                    <a:pt x="21" y="16"/>
                  </a:cubicBezTo>
                  <a:cubicBezTo>
                    <a:pt x="17" y="23"/>
                    <a:pt x="14" y="15"/>
                    <a:pt x="14" y="15"/>
                  </a:cubicBezTo>
                  <a:cubicBezTo>
                    <a:pt x="14" y="15"/>
                    <a:pt x="12" y="17"/>
                    <a:pt x="10" y="19"/>
                  </a:cubicBezTo>
                  <a:cubicBezTo>
                    <a:pt x="7" y="20"/>
                    <a:pt x="4" y="20"/>
                    <a:pt x="4" y="2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8" y="36"/>
                    <a:pt x="6" y="38"/>
                  </a:cubicBezTo>
                  <a:cubicBezTo>
                    <a:pt x="4" y="41"/>
                    <a:pt x="0" y="40"/>
                    <a:pt x="0" y="4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7"/>
                    <a:pt x="4" y="47"/>
                    <a:pt x="4" y="47"/>
                  </a:cubicBezTo>
                  <a:lnTo>
                    <a:pt x="4" y="6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Saudi Arabia" descr="© INSCALE GmbH, 05.05.2010&#10;http://www.presentationload.com/"/>
            <p:cNvSpPr>
              <a:spLocks/>
            </p:cNvSpPr>
            <p:nvPr/>
          </p:nvSpPr>
          <p:spPr bwMode="gray">
            <a:xfrm>
              <a:off x="8203403" y="5915435"/>
              <a:ext cx="940597" cy="22619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Jordan" descr="© INSCALE GmbH, 05.05.2010&#10;http://www.presentationload.com/"/>
            <p:cNvSpPr>
              <a:spLocks/>
            </p:cNvSpPr>
            <p:nvPr/>
          </p:nvSpPr>
          <p:spPr bwMode="gray">
            <a:xfrm>
              <a:off x="7816099" y="5764092"/>
              <a:ext cx="606994" cy="377540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he Netherland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943873" y="2826764"/>
              <a:ext cx="475181" cy="499590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Belgium" descr="© INSCALE GmbH, 05.05.2010&#10;http://www.presentationload.com/"/>
            <p:cNvSpPr>
              <a:spLocks/>
            </p:cNvSpPr>
            <p:nvPr/>
          </p:nvSpPr>
          <p:spPr bwMode="gray">
            <a:xfrm>
              <a:off x="2847861" y="3181522"/>
              <a:ext cx="452398" cy="375913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uxembourg" descr="© INSCALE GmbH, 05.05.2010&#10;http://www.presentationload.com/"/>
            <p:cNvSpPr>
              <a:spLocks/>
            </p:cNvSpPr>
            <p:nvPr/>
          </p:nvSpPr>
          <p:spPr bwMode="gray">
            <a:xfrm>
              <a:off x="3213813" y="3435385"/>
              <a:ext cx="91130" cy="138323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Czech Republic" descr="© INSCALE GmbH, 05.05.2010&#10;http://www.presentationload.com/"/>
            <p:cNvSpPr>
              <a:spLocks/>
            </p:cNvSpPr>
            <p:nvPr/>
          </p:nvSpPr>
          <p:spPr bwMode="gray">
            <a:xfrm>
              <a:off x="3972345" y="3274277"/>
              <a:ext cx="833193" cy="471926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Denmark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534593" y="2053781"/>
              <a:ext cx="756708" cy="577702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Slovenia" descr="© INSCALE GmbH, 05.05.2010&#10;http://www.presentationload.com/"/>
            <p:cNvSpPr>
              <a:spLocks/>
            </p:cNvSpPr>
            <p:nvPr/>
          </p:nvSpPr>
          <p:spPr bwMode="gray">
            <a:xfrm>
              <a:off x="4149725" y="4037496"/>
              <a:ext cx="410087" cy="286410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Monaco" descr="© INSCALE GmbH, 05.05.2010&#10;http://www.presentationload.com/"/>
            <p:cNvSpPr>
              <a:spLocks/>
            </p:cNvSpPr>
            <p:nvPr/>
          </p:nvSpPr>
          <p:spPr bwMode="gray">
            <a:xfrm>
              <a:off x="3337687" y="4623333"/>
              <a:ext cx="24411" cy="14646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9" y="3"/>
                </a:cxn>
                <a:cxn ang="0">
                  <a:pos x="4" y="1"/>
                </a:cxn>
              </a:cxnLst>
              <a:rect l="0" t="0" r="r" b="b"/>
              <a:pathLst>
                <a:path w="9" h="5">
                  <a:moveTo>
                    <a:pt x="4" y="1"/>
                  </a:moveTo>
                  <a:cubicBezTo>
                    <a:pt x="0" y="1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9" y="3"/>
                    <a:pt x="9" y="3"/>
                  </a:cubicBezTo>
                  <a:cubicBezTo>
                    <a:pt x="9" y="3"/>
                    <a:pt x="6" y="0"/>
                    <a:pt x="4" y="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Switzerland" descr="© INSCALE GmbH, 05.05.2010&#10;http://www.presentationload.com/"/>
            <p:cNvSpPr>
              <a:spLocks/>
            </p:cNvSpPr>
            <p:nvPr/>
          </p:nvSpPr>
          <p:spPr bwMode="gray">
            <a:xfrm>
              <a:off x="3187972" y="3887782"/>
              <a:ext cx="587466" cy="362894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Liechtenstein" descr="© INSCALE GmbH, 05.05.2010&#10;http://www.presentationload.com/"/>
            <p:cNvSpPr>
              <a:spLocks/>
            </p:cNvSpPr>
            <p:nvPr/>
          </p:nvSpPr>
          <p:spPr bwMode="gray">
            <a:xfrm>
              <a:off x="3633861" y="3996812"/>
              <a:ext cx="24411" cy="2929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4" y="0"/>
                </a:cxn>
                <a:cxn ang="0">
                  <a:pos x="2" y="7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7" y="0"/>
                </a:cxn>
              </a:cxnLst>
              <a:rect l="0" t="0" r="r" b="b"/>
              <a:pathLst>
                <a:path w="9" h="10">
                  <a:moveTo>
                    <a:pt x="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4"/>
                    <a:pt x="2" y="7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Austria" descr="© INSCALE GmbH, 05.05.2010&#10;http://www.presentationload.com/"/>
            <p:cNvSpPr>
              <a:spLocks/>
            </p:cNvSpPr>
            <p:nvPr/>
          </p:nvSpPr>
          <p:spPr bwMode="gray">
            <a:xfrm>
              <a:off x="3645252" y="3658328"/>
              <a:ext cx="968261" cy="483317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Malt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289675" y="6000430"/>
              <a:ext cx="130186" cy="152209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2" y="4"/>
                </a:cxn>
                <a:cxn ang="0">
                  <a:pos x="5" y="8"/>
                </a:cxn>
                <a:cxn ang="0">
                  <a:pos x="7" y="3"/>
                </a:cxn>
                <a:cxn ang="0">
                  <a:pos x="16" y="11"/>
                </a:cxn>
                <a:cxn ang="0">
                  <a:pos x="14" y="12"/>
                </a:cxn>
                <a:cxn ang="0">
                  <a:pos x="11" y="9"/>
                </a:cxn>
                <a:cxn ang="0">
                  <a:pos x="9" y="11"/>
                </a:cxn>
                <a:cxn ang="0">
                  <a:pos x="10" y="15"/>
                </a:cxn>
                <a:cxn ang="0">
                  <a:pos x="19" y="20"/>
                </a:cxn>
                <a:cxn ang="0">
                  <a:pos x="23" y="15"/>
                </a:cxn>
                <a:cxn ang="0">
                  <a:pos x="16" y="11"/>
                </a:cxn>
              </a:cxnLst>
              <a:rect l="0" t="0" r="r" b="b"/>
              <a:pathLst>
                <a:path w="23" h="20">
                  <a:moveTo>
                    <a:pt x="7" y="3"/>
                  </a:moveTo>
                  <a:cubicBezTo>
                    <a:pt x="0" y="0"/>
                    <a:pt x="2" y="4"/>
                    <a:pt x="2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9"/>
                    <a:pt x="15" y="5"/>
                    <a:pt x="7" y="3"/>
                  </a:cubicBezTo>
                  <a:close/>
                  <a:moveTo>
                    <a:pt x="16" y="11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5" y="20"/>
                    <a:pt x="19" y="20"/>
                  </a:cubicBezTo>
                  <a:cubicBezTo>
                    <a:pt x="23" y="20"/>
                    <a:pt x="23" y="15"/>
                    <a:pt x="23" y="15"/>
                  </a:cubicBezTo>
                  <a:lnTo>
                    <a:pt x="16" y="1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Great Britai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786841" y="1401222"/>
              <a:ext cx="1007317" cy="1890955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Ire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399537" y="2253943"/>
              <a:ext cx="576075" cy="654187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Portugal" descr="© INSCALE GmbH, 05.05.2010&#10;http://www.presentationload.com/"/>
            <p:cNvSpPr>
              <a:spLocks/>
            </p:cNvSpPr>
            <p:nvPr/>
          </p:nvSpPr>
          <p:spPr bwMode="gray">
            <a:xfrm>
              <a:off x="862518" y="4611944"/>
              <a:ext cx="574447" cy="948734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Cyprus" descr="© INSCALE GmbH, 05.05.2010&#10;http://www.presentationload.com/"/>
            <p:cNvSpPr>
              <a:spLocks/>
            </p:cNvSpPr>
            <p:nvPr/>
          </p:nvSpPr>
          <p:spPr bwMode="gray">
            <a:xfrm>
              <a:off x="7163540" y="5575323"/>
              <a:ext cx="318956" cy="297802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Serbia" descr="© INSCALE GmbH, 05.05.2010&#10;http://www.presentationload.com/"/>
            <p:cNvSpPr>
              <a:spLocks/>
            </p:cNvSpPr>
            <p:nvPr/>
          </p:nvSpPr>
          <p:spPr bwMode="gray">
            <a:xfrm>
              <a:off x="4452408" y="4327162"/>
              <a:ext cx="559801" cy="480062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Croat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164370" y="4099332"/>
              <a:ext cx="790882" cy="724161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Macedonia" descr="© INSCALE GmbH, 05.05.2010&#10;http://www.presentationload.com/"/>
            <p:cNvSpPr>
              <a:spLocks/>
            </p:cNvSpPr>
            <p:nvPr/>
          </p:nvSpPr>
          <p:spPr bwMode="gray">
            <a:xfrm>
              <a:off x="4994309" y="4768168"/>
              <a:ext cx="283156" cy="541901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Mazedonien" descr="© INSCALE GmbH, 05.05.2010&#10;http://www.presentationload.com/"/>
            <p:cNvSpPr>
              <a:spLocks/>
            </p:cNvSpPr>
            <p:nvPr/>
          </p:nvSpPr>
          <p:spPr bwMode="gray">
            <a:xfrm>
              <a:off x="5173315" y="4779559"/>
              <a:ext cx="354758" cy="297801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Slovakia" descr="© INSCALE GmbH, 05.05.2010&#10;http://www.presentationload.com/"/>
            <p:cNvSpPr>
              <a:spLocks/>
            </p:cNvSpPr>
            <p:nvPr/>
          </p:nvSpPr>
          <p:spPr bwMode="gray">
            <a:xfrm>
              <a:off x="4571202" y="3500478"/>
              <a:ext cx="694870" cy="367776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Hungary" descr="© INSCALE GmbH, 05.05.2010&#10;http://www.presentationload.com/"/>
            <p:cNvSpPr>
              <a:spLocks/>
            </p:cNvSpPr>
            <p:nvPr/>
          </p:nvSpPr>
          <p:spPr bwMode="gray">
            <a:xfrm>
              <a:off x="4501228" y="3664835"/>
              <a:ext cx="846211" cy="563057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Esto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929215" y="1576973"/>
              <a:ext cx="608621" cy="385677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Belarus" descr="© INSCALE GmbH, 05.05.2010&#10;http://www.presentationload.com/"/>
            <p:cNvSpPr>
              <a:spLocks/>
            </p:cNvSpPr>
            <p:nvPr/>
          </p:nvSpPr>
          <p:spPr bwMode="gray">
            <a:xfrm>
              <a:off x="5228644" y="2161184"/>
              <a:ext cx="1031728" cy="930833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Latvia" descr="© INSCALE GmbH, 05.05.2010&#10;http://www.presentationload.com/"/>
            <p:cNvSpPr>
              <a:spLocks/>
            </p:cNvSpPr>
            <p:nvPr/>
          </p:nvSpPr>
          <p:spPr bwMode="gray">
            <a:xfrm>
              <a:off x="4893414" y="1881281"/>
              <a:ext cx="753455" cy="426360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Moldova" descr="© INSCALE GmbH, 05.05.2010&#10;http://www.presentationload.com/"/>
            <p:cNvSpPr>
              <a:spLocks/>
            </p:cNvSpPr>
            <p:nvPr/>
          </p:nvSpPr>
          <p:spPr bwMode="gray">
            <a:xfrm>
              <a:off x="5785191" y="3539534"/>
              <a:ext cx="509354" cy="530509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Bulgaria" descr="© INSCALE GmbH, 05.05.2010&#10;http://www.presentationload.com/"/>
            <p:cNvSpPr>
              <a:spLocks/>
            </p:cNvSpPr>
            <p:nvPr/>
          </p:nvSpPr>
          <p:spPr bwMode="gray">
            <a:xfrm>
              <a:off x="5378362" y="4335298"/>
              <a:ext cx="847839" cy="618385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Gree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090322" y="4800711"/>
              <a:ext cx="1362075" cy="1275824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Ukrain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227017" y="2654264"/>
              <a:ext cx="2135055" cy="1453205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Georgia" descr="© INSCALE GmbH, 05.05.2010&#10;http://www.presentationload.com/"/>
            <p:cNvSpPr>
              <a:spLocks/>
            </p:cNvSpPr>
            <p:nvPr/>
          </p:nvSpPr>
          <p:spPr bwMode="gray">
            <a:xfrm>
              <a:off x="7708694" y="3751084"/>
              <a:ext cx="1034982" cy="42961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Arme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315690" y="3996812"/>
              <a:ext cx="598857" cy="336858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urke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946297" y="4096081"/>
              <a:ext cx="2886884" cy="1615938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Lebanon" descr="© INSCALE GmbH, 05.05.2010&#10;http://www.presentationload.com/"/>
            <p:cNvSpPr>
              <a:spLocks/>
            </p:cNvSpPr>
            <p:nvPr/>
          </p:nvSpPr>
          <p:spPr bwMode="gray">
            <a:xfrm>
              <a:off x="7715204" y="5661572"/>
              <a:ext cx="177379" cy="364522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Syria" descr="© INSCALE GmbH, 05.05.2010&#10;http://www.presentationload.com/"/>
            <p:cNvSpPr>
              <a:spLocks/>
            </p:cNvSpPr>
            <p:nvPr/>
          </p:nvSpPr>
          <p:spPr bwMode="gray">
            <a:xfrm>
              <a:off x="7650111" y="4860926"/>
              <a:ext cx="868995" cy="1212360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Azerbaij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499577" y="3672975"/>
              <a:ext cx="644423" cy="688360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Iran" descr="© INSCALE GmbH, 05.05.2010&#10;http://www.presentationload.com/"/>
            <p:cNvSpPr>
              <a:spLocks/>
            </p:cNvSpPr>
            <p:nvPr/>
          </p:nvSpPr>
          <p:spPr bwMode="gray">
            <a:xfrm>
              <a:off x="8541888" y="4061906"/>
              <a:ext cx="602112" cy="823429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Iraq" descr="© INSCALE GmbH, 05.05.2010&#10;http://www.presentationload.com/"/>
            <p:cNvSpPr>
              <a:spLocks/>
            </p:cNvSpPr>
            <p:nvPr/>
          </p:nvSpPr>
          <p:spPr bwMode="gray">
            <a:xfrm>
              <a:off x="8261987" y="4716092"/>
              <a:ext cx="882013" cy="1283964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Poland" descr="© INSCALE GmbH, 05.05.2010&#10;http://www.presentationload.com/"/>
            <p:cNvSpPr>
              <a:spLocks/>
            </p:cNvSpPr>
            <p:nvPr/>
          </p:nvSpPr>
          <p:spPr bwMode="gray">
            <a:xfrm>
              <a:off x="4190408" y="2569645"/>
              <a:ext cx="1217243" cy="1004063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Lithuania" descr="© INSCALE GmbH, 05.05.2010&#10;http://www.presentationload.com/"/>
            <p:cNvSpPr>
              <a:spLocks/>
            </p:cNvSpPr>
            <p:nvPr/>
          </p:nvSpPr>
          <p:spPr bwMode="gray">
            <a:xfrm>
              <a:off x="4908061" y="2182340"/>
              <a:ext cx="626521" cy="475181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Spai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085461" y="4338552"/>
              <a:ext cx="1781927" cy="1472734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Ital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257948" y="4014714"/>
              <a:ext cx="1663131" cy="191211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San Marino" descr="© INSCALE GmbH, 05.05.2010&#10;http://www.presentationload.com/"/>
            <p:cNvSpPr>
              <a:spLocks/>
            </p:cNvSpPr>
            <p:nvPr/>
          </p:nvSpPr>
          <p:spPr bwMode="gray">
            <a:xfrm>
              <a:off x="4022793" y="4592416"/>
              <a:ext cx="29292" cy="3092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7" y="8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4" y="4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2" y="10"/>
                </a:cxn>
              </a:cxnLst>
              <a:rect l="0" t="0" r="r" b="b"/>
              <a:pathLst>
                <a:path w="10" h="11">
                  <a:moveTo>
                    <a:pt x="2" y="10"/>
                  </a:moveTo>
                  <a:cubicBezTo>
                    <a:pt x="3" y="11"/>
                    <a:pt x="7" y="8"/>
                    <a:pt x="7" y="8"/>
                  </a:cubicBezTo>
                  <a:cubicBezTo>
                    <a:pt x="7" y="8"/>
                    <a:pt x="8" y="3"/>
                    <a:pt x="9" y="2"/>
                  </a:cubicBezTo>
                  <a:cubicBezTo>
                    <a:pt x="9" y="1"/>
                    <a:pt x="10" y="0"/>
                    <a:pt x="7" y="1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Andorra" descr="© INSCALE GmbH, 05.05.2010&#10;http://www.presentationload.com/"/>
            <p:cNvSpPr>
              <a:spLocks/>
            </p:cNvSpPr>
            <p:nvPr/>
          </p:nvSpPr>
          <p:spPr bwMode="gray">
            <a:xfrm>
              <a:off x="2506121" y="4761658"/>
              <a:ext cx="56956" cy="48820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Kazakhst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991850" y="681942"/>
              <a:ext cx="1152150" cy="2598846"/>
            </a:xfrm>
            <a:custGeom>
              <a:avLst/>
              <a:gdLst/>
              <a:ahLst/>
              <a:cxnLst>
                <a:cxn ang="0">
                  <a:pos x="391" y="18"/>
                </a:cxn>
                <a:cxn ang="0">
                  <a:pos x="366" y="53"/>
                </a:cxn>
                <a:cxn ang="0">
                  <a:pos x="352" y="80"/>
                </a:cxn>
                <a:cxn ang="0">
                  <a:pos x="327" y="92"/>
                </a:cxn>
                <a:cxn ang="0">
                  <a:pos x="336" y="113"/>
                </a:cxn>
                <a:cxn ang="0">
                  <a:pos x="359" y="108"/>
                </a:cxn>
                <a:cxn ang="0">
                  <a:pos x="373" y="120"/>
                </a:cxn>
                <a:cxn ang="0">
                  <a:pos x="386" y="135"/>
                </a:cxn>
                <a:cxn ang="0">
                  <a:pos x="367" y="152"/>
                </a:cxn>
                <a:cxn ang="0">
                  <a:pos x="393" y="177"/>
                </a:cxn>
                <a:cxn ang="0">
                  <a:pos x="380" y="229"/>
                </a:cxn>
                <a:cxn ang="0">
                  <a:pos x="408" y="0"/>
                </a:cxn>
                <a:cxn ang="0">
                  <a:pos x="287" y="841"/>
                </a:cxn>
                <a:cxn ang="0">
                  <a:pos x="290" y="834"/>
                </a:cxn>
                <a:cxn ang="0">
                  <a:pos x="355" y="318"/>
                </a:cxn>
                <a:cxn ang="0">
                  <a:pos x="337" y="346"/>
                </a:cxn>
                <a:cxn ang="0">
                  <a:pos x="296" y="357"/>
                </a:cxn>
                <a:cxn ang="0">
                  <a:pos x="290" y="404"/>
                </a:cxn>
                <a:cxn ang="0">
                  <a:pos x="234" y="405"/>
                </a:cxn>
                <a:cxn ang="0">
                  <a:pos x="246" y="435"/>
                </a:cxn>
                <a:cxn ang="0">
                  <a:pos x="202" y="412"/>
                </a:cxn>
                <a:cxn ang="0">
                  <a:pos x="153" y="421"/>
                </a:cxn>
                <a:cxn ang="0">
                  <a:pos x="127" y="427"/>
                </a:cxn>
                <a:cxn ang="0">
                  <a:pos x="104" y="456"/>
                </a:cxn>
                <a:cxn ang="0">
                  <a:pos x="84" y="456"/>
                </a:cxn>
                <a:cxn ang="0">
                  <a:pos x="78" y="486"/>
                </a:cxn>
                <a:cxn ang="0">
                  <a:pos x="51" y="524"/>
                </a:cxn>
                <a:cxn ang="0">
                  <a:pos x="36" y="558"/>
                </a:cxn>
                <a:cxn ang="0">
                  <a:pos x="61" y="585"/>
                </a:cxn>
                <a:cxn ang="0">
                  <a:pos x="14" y="590"/>
                </a:cxn>
                <a:cxn ang="0">
                  <a:pos x="12" y="668"/>
                </a:cxn>
                <a:cxn ang="0">
                  <a:pos x="57" y="726"/>
                </a:cxn>
                <a:cxn ang="0">
                  <a:pos x="86" y="752"/>
                </a:cxn>
                <a:cxn ang="0">
                  <a:pos x="125" y="746"/>
                </a:cxn>
                <a:cxn ang="0">
                  <a:pos x="160" y="777"/>
                </a:cxn>
                <a:cxn ang="0">
                  <a:pos x="196" y="783"/>
                </a:cxn>
                <a:cxn ang="0">
                  <a:pos x="198" y="775"/>
                </a:cxn>
                <a:cxn ang="0">
                  <a:pos x="209" y="774"/>
                </a:cxn>
                <a:cxn ang="0">
                  <a:pos x="223" y="755"/>
                </a:cxn>
                <a:cxn ang="0">
                  <a:pos x="236" y="730"/>
                </a:cxn>
                <a:cxn ang="0">
                  <a:pos x="262" y="697"/>
                </a:cxn>
                <a:cxn ang="0">
                  <a:pos x="274" y="698"/>
                </a:cxn>
                <a:cxn ang="0">
                  <a:pos x="290" y="693"/>
                </a:cxn>
                <a:cxn ang="0">
                  <a:pos x="304" y="675"/>
                </a:cxn>
                <a:cxn ang="0">
                  <a:pos x="326" y="669"/>
                </a:cxn>
                <a:cxn ang="0">
                  <a:pos x="337" y="681"/>
                </a:cxn>
                <a:cxn ang="0">
                  <a:pos x="352" y="693"/>
                </a:cxn>
                <a:cxn ang="0">
                  <a:pos x="357" y="699"/>
                </a:cxn>
                <a:cxn ang="0">
                  <a:pos x="367" y="750"/>
                </a:cxn>
                <a:cxn ang="0">
                  <a:pos x="346" y="776"/>
                </a:cxn>
                <a:cxn ang="0">
                  <a:pos x="321" y="804"/>
                </a:cxn>
                <a:cxn ang="0">
                  <a:pos x="313" y="824"/>
                </a:cxn>
                <a:cxn ang="0">
                  <a:pos x="327" y="830"/>
                </a:cxn>
                <a:cxn ang="0">
                  <a:pos x="352" y="833"/>
                </a:cxn>
                <a:cxn ang="0">
                  <a:pos x="312" y="854"/>
                </a:cxn>
                <a:cxn ang="0">
                  <a:pos x="367" y="896"/>
                </a:cxn>
                <a:cxn ang="0">
                  <a:pos x="397" y="915"/>
                </a:cxn>
                <a:cxn ang="0">
                  <a:pos x="408" y="310"/>
                </a:cxn>
              </a:cxnLst>
              <a:rect l="0" t="0" r="r" b="b"/>
              <a:pathLst>
                <a:path w="408" h="921">
                  <a:moveTo>
                    <a:pt x="401" y="0"/>
                  </a:moveTo>
                  <a:cubicBezTo>
                    <a:pt x="395" y="9"/>
                    <a:pt x="395" y="9"/>
                    <a:pt x="395" y="9"/>
                  </a:cubicBezTo>
                  <a:cubicBezTo>
                    <a:pt x="395" y="9"/>
                    <a:pt x="400" y="12"/>
                    <a:pt x="398" y="15"/>
                  </a:cubicBezTo>
                  <a:cubicBezTo>
                    <a:pt x="397" y="18"/>
                    <a:pt x="391" y="18"/>
                    <a:pt x="391" y="18"/>
                  </a:cubicBezTo>
                  <a:cubicBezTo>
                    <a:pt x="385" y="30"/>
                    <a:pt x="385" y="30"/>
                    <a:pt x="385" y="30"/>
                  </a:cubicBezTo>
                  <a:cubicBezTo>
                    <a:pt x="377" y="33"/>
                    <a:pt x="377" y="33"/>
                    <a:pt x="377" y="33"/>
                  </a:cubicBezTo>
                  <a:cubicBezTo>
                    <a:pt x="381" y="40"/>
                    <a:pt x="381" y="40"/>
                    <a:pt x="381" y="40"/>
                  </a:cubicBezTo>
                  <a:cubicBezTo>
                    <a:pt x="366" y="53"/>
                    <a:pt x="366" y="53"/>
                    <a:pt x="366" y="53"/>
                  </a:cubicBezTo>
                  <a:cubicBezTo>
                    <a:pt x="366" y="53"/>
                    <a:pt x="376" y="65"/>
                    <a:pt x="371" y="67"/>
                  </a:cubicBezTo>
                  <a:cubicBezTo>
                    <a:pt x="365" y="70"/>
                    <a:pt x="362" y="61"/>
                    <a:pt x="362" y="61"/>
                  </a:cubicBezTo>
                  <a:cubicBezTo>
                    <a:pt x="354" y="73"/>
                    <a:pt x="354" y="73"/>
                    <a:pt x="354" y="73"/>
                  </a:cubicBezTo>
                  <a:cubicBezTo>
                    <a:pt x="352" y="80"/>
                    <a:pt x="352" y="80"/>
                    <a:pt x="352" y="80"/>
                  </a:cubicBezTo>
                  <a:cubicBezTo>
                    <a:pt x="343" y="78"/>
                    <a:pt x="343" y="78"/>
                    <a:pt x="343" y="78"/>
                  </a:cubicBezTo>
                  <a:cubicBezTo>
                    <a:pt x="341" y="84"/>
                    <a:pt x="341" y="84"/>
                    <a:pt x="341" y="84"/>
                  </a:cubicBezTo>
                  <a:cubicBezTo>
                    <a:pt x="328" y="84"/>
                    <a:pt x="328" y="84"/>
                    <a:pt x="328" y="84"/>
                  </a:cubicBezTo>
                  <a:cubicBezTo>
                    <a:pt x="327" y="92"/>
                    <a:pt x="327" y="92"/>
                    <a:pt x="327" y="92"/>
                  </a:cubicBezTo>
                  <a:cubicBezTo>
                    <a:pt x="331" y="94"/>
                    <a:pt x="331" y="94"/>
                    <a:pt x="331" y="94"/>
                  </a:cubicBezTo>
                  <a:cubicBezTo>
                    <a:pt x="322" y="103"/>
                    <a:pt x="322" y="103"/>
                    <a:pt x="322" y="103"/>
                  </a:cubicBezTo>
                  <a:cubicBezTo>
                    <a:pt x="334" y="101"/>
                    <a:pt x="334" y="101"/>
                    <a:pt x="334" y="101"/>
                  </a:cubicBezTo>
                  <a:cubicBezTo>
                    <a:pt x="336" y="113"/>
                    <a:pt x="336" y="113"/>
                    <a:pt x="336" y="113"/>
                  </a:cubicBezTo>
                  <a:cubicBezTo>
                    <a:pt x="333" y="119"/>
                    <a:pt x="333" y="119"/>
                    <a:pt x="333" y="119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8" y="116"/>
                    <a:pt x="348" y="116"/>
                    <a:pt x="348" y="116"/>
                  </a:cubicBezTo>
                  <a:cubicBezTo>
                    <a:pt x="348" y="116"/>
                    <a:pt x="354" y="104"/>
                    <a:pt x="359" y="108"/>
                  </a:cubicBezTo>
                  <a:cubicBezTo>
                    <a:pt x="364" y="111"/>
                    <a:pt x="354" y="116"/>
                    <a:pt x="354" y="116"/>
                  </a:cubicBezTo>
                  <a:cubicBezTo>
                    <a:pt x="358" y="129"/>
                    <a:pt x="358" y="129"/>
                    <a:pt x="358" y="129"/>
                  </a:cubicBezTo>
                  <a:cubicBezTo>
                    <a:pt x="374" y="124"/>
                    <a:pt x="374" y="124"/>
                    <a:pt x="374" y="124"/>
                  </a:cubicBezTo>
                  <a:cubicBezTo>
                    <a:pt x="373" y="120"/>
                    <a:pt x="373" y="120"/>
                    <a:pt x="373" y="120"/>
                  </a:cubicBezTo>
                  <a:cubicBezTo>
                    <a:pt x="373" y="120"/>
                    <a:pt x="379" y="120"/>
                    <a:pt x="382" y="119"/>
                  </a:cubicBezTo>
                  <a:cubicBezTo>
                    <a:pt x="387" y="117"/>
                    <a:pt x="389" y="111"/>
                    <a:pt x="393" y="115"/>
                  </a:cubicBezTo>
                  <a:cubicBezTo>
                    <a:pt x="398" y="119"/>
                    <a:pt x="400" y="122"/>
                    <a:pt x="396" y="124"/>
                  </a:cubicBezTo>
                  <a:cubicBezTo>
                    <a:pt x="392" y="126"/>
                    <a:pt x="386" y="135"/>
                    <a:pt x="386" y="135"/>
                  </a:cubicBezTo>
                  <a:cubicBezTo>
                    <a:pt x="377" y="136"/>
                    <a:pt x="377" y="136"/>
                    <a:pt x="377" y="136"/>
                  </a:cubicBezTo>
                  <a:cubicBezTo>
                    <a:pt x="372" y="141"/>
                    <a:pt x="372" y="141"/>
                    <a:pt x="372" y="141"/>
                  </a:cubicBezTo>
                  <a:cubicBezTo>
                    <a:pt x="361" y="149"/>
                    <a:pt x="361" y="149"/>
                    <a:pt x="361" y="149"/>
                  </a:cubicBezTo>
                  <a:cubicBezTo>
                    <a:pt x="361" y="149"/>
                    <a:pt x="367" y="151"/>
                    <a:pt x="367" y="152"/>
                  </a:cubicBezTo>
                  <a:cubicBezTo>
                    <a:pt x="367" y="154"/>
                    <a:pt x="364" y="171"/>
                    <a:pt x="364" y="171"/>
                  </a:cubicBezTo>
                  <a:cubicBezTo>
                    <a:pt x="378" y="176"/>
                    <a:pt x="378" y="176"/>
                    <a:pt x="378" y="176"/>
                  </a:cubicBezTo>
                  <a:cubicBezTo>
                    <a:pt x="383" y="174"/>
                    <a:pt x="383" y="174"/>
                    <a:pt x="383" y="174"/>
                  </a:cubicBezTo>
                  <a:cubicBezTo>
                    <a:pt x="393" y="177"/>
                    <a:pt x="393" y="177"/>
                    <a:pt x="393" y="177"/>
                  </a:cubicBezTo>
                  <a:cubicBezTo>
                    <a:pt x="391" y="199"/>
                    <a:pt x="391" y="199"/>
                    <a:pt x="391" y="199"/>
                  </a:cubicBezTo>
                  <a:cubicBezTo>
                    <a:pt x="385" y="201"/>
                    <a:pt x="385" y="201"/>
                    <a:pt x="385" y="201"/>
                  </a:cubicBezTo>
                  <a:cubicBezTo>
                    <a:pt x="377" y="224"/>
                    <a:pt x="377" y="224"/>
                    <a:pt x="377" y="224"/>
                  </a:cubicBezTo>
                  <a:cubicBezTo>
                    <a:pt x="380" y="229"/>
                    <a:pt x="380" y="229"/>
                    <a:pt x="380" y="229"/>
                  </a:cubicBezTo>
                  <a:cubicBezTo>
                    <a:pt x="380" y="229"/>
                    <a:pt x="396" y="219"/>
                    <a:pt x="398" y="222"/>
                  </a:cubicBezTo>
                  <a:cubicBezTo>
                    <a:pt x="402" y="226"/>
                    <a:pt x="398" y="230"/>
                    <a:pt x="398" y="230"/>
                  </a:cubicBezTo>
                  <a:cubicBezTo>
                    <a:pt x="408" y="229"/>
                    <a:pt x="408" y="229"/>
                    <a:pt x="408" y="22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401" y="0"/>
                  </a:lnTo>
                  <a:close/>
                  <a:moveTo>
                    <a:pt x="290" y="834"/>
                  </a:moveTo>
                  <a:cubicBezTo>
                    <a:pt x="285" y="834"/>
                    <a:pt x="285" y="834"/>
                    <a:pt x="285" y="834"/>
                  </a:cubicBezTo>
                  <a:cubicBezTo>
                    <a:pt x="287" y="841"/>
                    <a:pt x="287" y="841"/>
                    <a:pt x="287" y="841"/>
                  </a:cubicBezTo>
                  <a:cubicBezTo>
                    <a:pt x="291" y="846"/>
                    <a:pt x="291" y="846"/>
                    <a:pt x="291" y="846"/>
                  </a:cubicBezTo>
                  <a:cubicBezTo>
                    <a:pt x="293" y="845"/>
                    <a:pt x="293" y="845"/>
                    <a:pt x="293" y="845"/>
                  </a:cubicBezTo>
                  <a:cubicBezTo>
                    <a:pt x="291" y="841"/>
                    <a:pt x="291" y="841"/>
                    <a:pt x="291" y="841"/>
                  </a:cubicBezTo>
                  <a:lnTo>
                    <a:pt x="290" y="834"/>
                  </a:lnTo>
                  <a:close/>
                  <a:moveTo>
                    <a:pt x="379" y="317"/>
                  </a:moveTo>
                  <a:cubicBezTo>
                    <a:pt x="370" y="312"/>
                    <a:pt x="370" y="306"/>
                    <a:pt x="364" y="306"/>
                  </a:cubicBezTo>
                  <a:cubicBezTo>
                    <a:pt x="359" y="308"/>
                    <a:pt x="354" y="309"/>
                    <a:pt x="354" y="309"/>
                  </a:cubicBezTo>
                  <a:cubicBezTo>
                    <a:pt x="354" y="309"/>
                    <a:pt x="358" y="316"/>
                    <a:pt x="355" y="318"/>
                  </a:cubicBezTo>
                  <a:cubicBezTo>
                    <a:pt x="353" y="320"/>
                    <a:pt x="336" y="327"/>
                    <a:pt x="336" y="327"/>
                  </a:cubicBezTo>
                  <a:cubicBezTo>
                    <a:pt x="345" y="336"/>
                    <a:pt x="345" y="336"/>
                    <a:pt x="345" y="336"/>
                  </a:cubicBezTo>
                  <a:cubicBezTo>
                    <a:pt x="345" y="336"/>
                    <a:pt x="338" y="336"/>
                    <a:pt x="337" y="337"/>
                  </a:cubicBezTo>
                  <a:cubicBezTo>
                    <a:pt x="336" y="340"/>
                    <a:pt x="340" y="344"/>
                    <a:pt x="337" y="346"/>
                  </a:cubicBezTo>
                  <a:cubicBezTo>
                    <a:pt x="332" y="348"/>
                    <a:pt x="318" y="343"/>
                    <a:pt x="318" y="343"/>
                  </a:cubicBezTo>
                  <a:cubicBezTo>
                    <a:pt x="306" y="352"/>
                    <a:pt x="306" y="352"/>
                    <a:pt x="306" y="352"/>
                  </a:cubicBezTo>
                  <a:cubicBezTo>
                    <a:pt x="306" y="352"/>
                    <a:pt x="311" y="360"/>
                    <a:pt x="307" y="361"/>
                  </a:cubicBezTo>
                  <a:cubicBezTo>
                    <a:pt x="303" y="361"/>
                    <a:pt x="296" y="357"/>
                    <a:pt x="296" y="357"/>
                  </a:cubicBezTo>
                  <a:cubicBezTo>
                    <a:pt x="297" y="372"/>
                    <a:pt x="297" y="372"/>
                    <a:pt x="297" y="372"/>
                  </a:cubicBezTo>
                  <a:cubicBezTo>
                    <a:pt x="292" y="374"/>
                    <a:pt x="292" y="374"/>
                    <a:pt x="292" y="374"/>
                  </a:cubicBezTo>
                  <a:cubicBezTo>
                    <a:pt x="292" y="374"/>
                    <a:pt x="298" y="380"/>
                    <a:pt x="296" y="387"/>
                  </a:cubicBezTo>
                  <a:cubicBezTo>
                    <a:pt x="294" y="392"/>
                    <a:pt x="290" y="404"/>
                    <a:pt x="290" y="404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8" y="407"/>
                    <a:pt x="258" y="404"/>
                    <a:pt x="255" y="403"/>
                  </a:cubicBezTo>
                  <a:cubicBezTo>
                    <a:pt x="251" y="403"/>
                    <a:pt x="248" y="405"/>
                    <a:pt x="248" y="405"/>
                  </a:cubicBezTo>
                  <a:cubicBezTo>
                    <a:pt x="248" y="405"/>
                    <a:pt x="236" y="400"/>
                    <a:pt x="234" y="405"/>
                  </a:cubicBezTo>
                  <a:cubicBezTo>
                    <a:pt x="232" y="409"/>
                    <a:pt x="232" y="412"/>
                    <a:pt x="234" y="413"/>
                  </a:cubicBezTo>
                  <a:cubicBezTo>
                    <a:pt x="238" y="413"/>
                    <a:pt x="243" y="412"/>
                    <a:pt x="245" y="418"/>
                  </a:cubicBezTo>
                  <a:cubicBezTo>
                    <a:pt x="247" y="422"/>
                    <a:pt x="255" y="422"/>
                    <a:pt x="254" y="426"/>
                  </a:cubicBezTo>
                  <a:cubicBezTo>
                    <a:pt x="252" y="430"/>
                    <a:pt x="251" y="438"/>
                    <a:pt x="246" y="435"/>
                  </a:cubicBezTo>
                  <a:cubicBezTo>
                    <a:pt x="242" y="432"/>
                    <a:pt x="239" y="426"/>
                    <a:pt x="239" y="423"/>
                  </a:cubicBezTo>
                  <a:cubicBezTo>
                    <a:pt x="239" y="419"/>
                    <a:pt x="238" y="418"/>
                    <a:pt x="232" y="418"/>
                  </a:cubicBezTo>
                  <a:cubicBezTo>
                    <a:pt x="227" y="418"/>
                    <a:pt x="221" y="419"/>
                    <a:pt x="215" y="414"/>
                  </a:cubicBezTo>
                  <a:cubicBezTo>
                    <a:pt x="210" y="410"/>
                    <a:pt x="205" y="409"/>
                    <a:pt x="202" y="412"/>
                  </a:cubicBezTo>
                  <a:cubicBezTo>
                    <a:pt x="199" y="416"/>
                    <a:pt x="198" y="418"/>
                    <a:pt x="194" y="416"/>
                  </a:cubicBezTo>
                  <a:cubicBezTo>
                    <a:pt x="189" y="415"/>
                    <a:pt x="191" y="407"/>
                    <a:pt x="182" y="408"/>
                  </a:cubicBezTo>
                  <a:cubicBezTo>
                    <a:pt x="174" y="409"/>
                    <a:pt x="161" y="421"/>
                    <a:pt x="161" y="421"/>
                  </a:cubicBezTo>
                  <a:cubicBezTo>
                    <a:pt x="153" y="421"/>
                    <a:pt x="153" y="421"/>
                    <a:pt x="153" y="421"/>
                  </a:cubicBezTo>
                  <a:cubicBezTo>
                    <a:pt x="153" y="421"/>
                    <a:pt x="157" y="427"/>
                    <a:pt x="151" y="427"/>
                  </a:cubicBezTo>
                  <a:cubicBezTo>
                    <a:pt x="145" y="428"/>
                    <a:pt x="129" y="418"/>
                    <a:pt x="129" y="418"/>
                  </a:cubicBezTo>
                  <a:cubicBezTo>
                    <a:pt x="125" y="420"/>
                    <a:pt x="125" y="420"/>
                    <a:pt x="125" y="420"/>
                  </a:cubicBezTo>
                  <a:cubicBezTo>
                    <a:pt x="127" y="427"/>
                    <a:pt x="127" y="427"/>
                    <a:pt x="127" y="427"/>
                  </a:cubicBezTo>
                  <a:cubicBezTo>
                    <a:pt x="127" y="427"/>
                    <a:pt x="118" y="427"/>
                    <a:pt x="116" y="431"/>
                  </a:cubicBezTo>
                  <a:cubicBezTo>
                    <a:pt x="114" y="436"/>
                    <a:pt x="123" y="442"/>
                    <a:pt x="119" y="444"/>
                  </a:cubicBezTo>
                  <a:cubicBezTo>
                    <a:pt x="116" y="446"/>
                    <a:pt x="111" y="445"/>
                    <a:pt x="111" y="445"/>
                  </a:cubicBezTo>
                  <a:cubicBezTo>
                    <a:pt x="111" y="445"/>
                    <a:pt x="110" y="458"/>
                    <a:pt x="104" y="456"/>
                  </a:cubicBezTo>
                  <a:cubicBezTo>
                    <a:pt x="99" y="455"/>
                    <a:pt x="105" y="445"/>
                    <a:pt x="102" y="444"/>
                  </a:cubicBezTo>
                  <a:cubicBezTo>
                    <a:pt x="99" y="443"/>
                    <a:pt x="88" y="450"/>
                    <a:pt x="88" y="450"/>
                  </a:cubicBezTo>
                  <a:cubicBezTo>
                    <a:pt x="77" y="450"/>
                    <a:pt x="77" y="450"/>
                    <a:pt x="77" y="450"/>
                  </a:cubicBezTo>
                  <a:cubicBezTo>
                    <a:pt x="84" y="456"/>
                    <a:pt x="84" y="456"/>
                    <a:pt x="84" y="456"/>
                  </a:cubicBezTo>
                  <a:cubicBezTo>
                    <a:pt x="84" y="456"/>
                    <a:pt x="79" y="459"/>
                    <a:pt x="77" y="461"/>
                  </a:cubicBezTo>
                  <a:cubicBezTo>
                    <a:pt x="75" y="463"/>
                    <a:pt x="80" y="470"/>
                    <a:pt x="80" y="472"/>
                  </a:cubicBezTo>
                  <a:cubicBezTo>
                    <a:pt x="80" y="475"/>
                    <a:pt x="70" y="477"/>
                    <a:pt x="71" y="479"/>
                  </a:cubicBezTo>
                  <a:cubicBezTo>
                    <a:pt x="72" y="483"/>
                    <a:pt x="79" y="482"/>
                    <a:pt x="78" y="486"/>
                  </a:cubicBezTo>
                  <a:cubicBezTo>
                    <a:pt x="78" y="489"/>
                    <a:pt x="65" y="497"/>
                    <a:pt x="65" y="497"/>
                  </a:cubicBezTo>
                  <a:cubicBezTo>
                    <a:pt x="59" y="508"/>
                    <a:pt x="59" y="508"/>
                    <a:pt x="59" y="508"/>
                  </a:cubicBezTo>
                  <a:cubicBezTo>
                    <a:pt x="49" y="514"/>
                    <a:pt x="49" y="514"/>
                    <a:pt x="49" y="514"/>
                  </a:cubicBezTo>
                  <a:cubicBezTo>
                    <a:pt x="51" y="524"/>
                    <a:pt x="51" y="524"/>
                    <a:pt x="51" y="524"/>
                  </a:cubicBezTo>
                  <a:cubicBezTo>
                    <a:pt x="51" y="524"/>
                    <a:pt x="61" y="523"/>
                    <a:pt x="59" y="527"/>
                  </a:cubicBezTo>
                  <a:cubicBezTo>
                    <a:pt x="58" y="533"/>
                    <a:pt x="51" y="538"/>
                    <a:pt x="51" y="538"/>
                  </a:cubicBezTo>
                  <a:cubicBezTo>
                    <a:pt x="51" y="538"/>
                    <a:pt x="53" y="554"/>
                    <a:pt x="47" y="555"/>
                  </a:cubicBezTo>
                  <a:cubicBezTo>
                    <a:pt x="41" y="556"/>
                    <a:pt x="36" y="558"/>
                    <a:pt x="36" y="558"/>
                  </a:cubicBezTo>
                  <a:cubicBezTo>
                    <a:pt x="35" y="562"/>
                    <a:pt x="35" y="562"/>
                    <a:pt x="35" y="562"/>
                  </a:cubicBezTo>
                  <a:cubicBezTo>
                    <a:pt x="39" y="562"/>
                    <a:pt x="39" y="562"/>
                    <a:pt x="39" y="562"/>
                  </a:cubicBezTo>
                  <a:cubicBezTo>
                    <a:pt x="39" y="562"/>
                    <a:pt x="49" y="574"/>
                    <a:pt x="53" y="578"/>
                  </a:cubicBezTo>
                  <a:cubicBezTo>
                    <a:pt x="58" y="580"/>
                    <a:pt x="61" y="585"/>
                    <a:pt x="61" y="585"/>
                  </a:cubicBezTo>
                  <a:cubicBezTo>
                    <a:pt x="61" y="585"/>
                    <a:pt x="68" y="577"/>
                    <a:pt x="67" y="586"/>
                  </a:cubicBezTo>
                  <a:cubicBezTo>
                    <a:pt x="66" y="596"/>
                    <a:pt x="60" y="610"/>
                    <a:pt x="54" y="610"/>
                  </a:cubicBezTo>
                  <a:cubicBezTo>
                    <a:pt x="48" y="610"/>
                    <a:pt x="41" y="611"/>
                    <a:pt x="37" y="604"/>
                  </a:cubicBezTo>
                  <a:cubicBezTo>
                    <a:pt x="34" y="599"/>
                    <a:pt x="22" y="590"/>
                    <a:pt x="14" y="590"/>
                  </a:cubicBezTo>
                  <a:cubicBezTo>
                    <a:pt x="4" y="590"/>
                    <a:pt x="0" y="597"/>
                    <a:pt x="1" y="604"/>
                  </a:cubicBezTo>
                  <a:cubicBezTo>
                    <a:pt x="1" y="612"/>
                    <a:pt x="10" y="613"/>
                    <a:pt x="9" y="618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12" y="668"/>
                    <a:pt x="12" y="668"/>
                    <a:pt x="12" y="668"/>
                  </a:cubicBezTo>
                  <a:cubicBezTo>
                    <a:pt x="12" y="668"/>
                    <a:pt x="22" y="666"/>
                    <a:pt x="25" y="675"/>
                  </a:cubicBezTo>
                  <a:cubicBezTo>
                    <a:pt x="28" y="683"/>
                    <a:pt x="22" y="693"/>
                    <a:pt x="22" y="693"/>
                  </a:cubicBezTo>
                  <a:cubicBezTo>
                    <a:pt x="28" y="732"/>
                    <a:pt x="28" y="732"/>
                    <a:pt x="28" y="732"/>
                  </a:cubicBezTo>
                  <a:cubicBezTo>
                    <a:pt x="57" y="726"/>
                    <a:pt x="57" y="726"/>
                    <a:pt x="57" y="726"/>
                  </a:cubicBezTo>
                  <a:cubicBezTo>
                    <a:pt x="57" y="726"/>
                    <a:pt x="57" y="730"/>
                    <a:pt x="60" y="732"/>
                  </a:cubicBezTo>
                  <a:cubicBezTo>
                    <a:pt x="62" y="735"/>
                    <a:pt x="67" y="737"/>
                    <a:pt x="65" y="740"/>
                  </a:cubicBezTo>
                  <a:cubicBezTo>
                    <a:pt x="64" y="742"/>
                    <a:pt x="63" y="749"/>
                    <a:pt x="68" y="750"/>
                  </a:cubicBezTo>
                  <a:cubicBezTo>
                    <a:pt x="74" y="752"/>
                    <a:pt x="86" y="752"/>
                    <a:pt x="86" y="752"/>
                  </a:cubicBezTo>
                  <a:cubicBezTo>
                    <a:pt x="82" y="744"/>
                    <a:pt x="82" y="744"/>
                    <a:pt x="82" y="744"/>
                  </a:cubicBezTo>
                  <a:cubicBezTo>
                    <a:pt x="82" y="744"/>
                    <a:pt x="87" y="745"/>
                    <a:pt x="94" y="743"/>
                  </a:cubicBezTo>
                  <a:cubicBezTo>
                    <a:pt x="101" y="741"/>
                    <a:pt x="98" y="729"/>
                    <a:pt x="108" y="732"/>
                  </a:cubicBezTo>
                  <a:cubicBezTo>
                    <a:pt x="117" y="735"/>
                    <a:pt x="118" y="746"/>
                    <a:pt x="125" y="746"/>
                  </a:cubicBezTo>
                  <a:cubicBezTo>
                    <a:pt x="132" y="746"/>
                    <a:pt x="133" y="742"/>
                    <a:pt x="139" y="744"/>
                  </a:cubicBezTo>
                  <a:cubicBezTo>
                    <a:pt x="144" y="747"/>
                    <a:pt x="149" y="758"/>
                    <a:pt x="157" y="760"/>
                  </a:cubicBezTo>
                  <a:cubicBezTo>
                    <a:pt x="164" y="762"/>
                    <a:pt x="183" y="769"/>
                    <a:pt x="178" y="774"/>
                  </a:cubicBezTo>
                  <a:cubicBezTo>
                    <a:pt x="174" y="778"/>
                    <a:pt x="164" y="772"/>
                    <a:pt x="160" y="777"/>
                  </a:cubicBezTo>
                  <a:cubicBezTo>
                    <a:pt x="156" y="784"/>
                    <a:pt x="157" y="790"/>
                    <a:pt x="166" y="791"/>
                  </a:cubicBezTo>
                  <a:cubicBezTo>
                    <a:pt x="177" y="792"/>
                    <a:pt x="200" y="788"/>
                    <a:pt x="200" y="788"/>
                  </a:cubicBezTo>
                  <a:cubicBezTo>
                    <a:pt x="199" y="784"/>
                    <a:pt x="199" y="784"/>
                    <a:pt x="199" y="784"/>
                  </a:cubicBezTo>
                  <a:cubicBezTo>
                    <a:pt x="196" y="783"/>
                    <a:pt x="196" y="783"/>
                    <a:pt x="196" y="783"/>
                  </a:cubicBezTo>
                  <a:cubicBezTo>
                    <a:pt x="202" y="781"/>
                    <a:pt x="202" y="781"/>
                    <a:pt x="202" y="781"/>
                  </a:cubicBezTo>
                  <a:cubicBezTo>
                    <a:pt x="202" y="778"/>
                    <a:pt x="202" y="778"/>
                    <a:pt x="202" y="778"/>
                  </a:cubicBezTo>
                  <a:cubicBezTo>
                    <a:pt x="198" y="779"/>
                    <a:pt x="198" y="779"/>
                    <a:pt x="198" y="779"/>
                  </a:cubicBezTo>
                  <a:cubicBezTo>
                    <a:pt x="198" y="775"/>
                    <a:pt x="198" y="775"/>
                    <a:pt x="198" y="775"/>
                  </a:cubicBezTo>
                  <a:cubicBezTo>
                    <a:pt x="195" y="772"/>
                    <a:pt x="195" y="772"/>
                    <a:pt x="195" y="772"/>
                  </a:cubicBezTo>
                  <a:cubicBezTo>
                    <a:pt x="202" y="774"/>
                    <a:pt x="202" y="774"/>
                    <a:pt x="202" y="774"/>
                  </a:cubicBezTo>
                  <a:cubicBezTo>
                    <a:pt x="205" y="769"/>
                    <a:pt x="205" y="769"/>
                    <a:pt x="205" y="769"/>
                  </a:cubicBezTo>
                  <a:cubicBezTo>
                    <a:pt x="209" y="774"/>
                    <a:pt x="209" y="774"/>
                    <a:pt x="209" y="774"/>
                  </a:cubicBezTo>
                  <a:cubicBezTo>
                    <a:pt x="209" y="768"/>
                    <a:pt x="209" y="768"/>
                    <a:pt x="209" y="768"/>
                  </a:cubicBezTo>
                  <a:cubicBezTo>
                    <a:pt x="209" y="768"/>
                    <a:pt x="212" y="770"/>
                    <a:pt x="215" y="765"/>
                  </a:cubicBezTo>
                  <a:cubicBezTo>
                    <a:pt x="219" y="760"/>
                    <a:pt x="218" y="755"/>
                    <a:pt x="218" y="755"/>
                  </a:cubicBezTo>
                  <a:cubicBezTo>
                    <a:pt x="218" y="755"/>
                    <a:pt x="222" y="758"/>
                    <a:pt x="223" y="755"/>
                  </a:cubicBezTo>
                  <a:cubicBezTo>
                    <a:pt x="225" y="753"/>
                    <a:pt x="224" y="746"/>
                    <a:pt x="224" y="746"/>
                  </a:cubicBezTo>
                  <a:cubicBezTo>
                    <a:pt x="228" y="744"/>
                    <a:pt x="228" y="744"/>
                    <a:pt x="228" y="744"/>
                  </a:cubicBezTo>
                  <a:cubicBezTo>
                    <a:pt x="228" y="730"/>
                    <a:pt x="228" y="730"/>
                    <a:pt x="228" y="730"/>
                  </a:cubicBezTo>
                  <a:cubicBezTo>
                    <a:pt x="236" y="730"/>
                    <a:pt x="236" y="730"/>
                    <a:pt x="236" y="730"/>
                  </a:cubicBezTo>
                  <a:cubicBezTo>
                    <a:pt x="235" y="723"/>
                    <a:pt x="235" y="723"/>
                    <a:pt x="235" y="723"/>
                  </a:cubicBezTo>
                  <a:cubicBezTo>
                    <a:pt x="243" y="722"/>
                    <a:pt x="243" y="722"/>
                    <a:pt x="243" y="722"/>
                  </a:cubicBezTo>
                  <a:cubicBezTo>
                    <a:pt x="243" y="722"/>
                    <a:pt x="239" y="712"/>
                    <a:pt x="247" y="704"/>
                  </a:cubicBezTo>
                  <a:cubicBezTo>
                    <a:pt x="256" y="695"/>
                    <a:pt x="262" y="697"/>
                    <a:pt x="262" y="697"/>
                  </a:cubicBezTo>
                  <a:cubicBezTo>
                    <a:pt x="266" y="695"/>
                    <a:pt x="266" y="695"/>
                    <a:pt x="266" y="695"/>
                  </a:cubicBezTo>
                  <a:cubicBezTo>
                    <a:pt x="268" y="697"/>
                    <a:pt x="268" y="697"/>
                    <a:pt x="268" y="697"/>
                  </a:cubicBezTo>
                  <a:cubicBezTo>
                    <a:pt x="270" y="693"/>
                    <a:pt x="270" y="693"/>
                    <a:pt x="270" y="693"/>
                  </a:cubicBezTo>
                  <a:cubicBezTo>
                    <a:pt x="274" y="698"/>
                    <a:pt x="274" y="698"/>
                    <a:pt x="274" y="698"/>
                  </a:cubicBezTo>
                  <a:cubicBezTo>
                    <a:pt x="281" y="697"/>
                    <a:pt x="281" y="697"/>
                    <a:pt x="281" y="697"/>
                  </a:cubicBezTo>
                  <a:cubicBezTo>
                    <a:pt x="283" y="692"/>
                    <a:pt x="283" y="692"/>
                    <a:pt x="283" y="692"/>
                  </a:cubicBezTo>
                  <a:cubicBezTo>
                    <a:pt x="285" y="698"/>
                    <a:pt x="285" y="698"/>
                    <a:pt x="285" y="698"/>
                  </a:cubicBezTo>
                  <a:cubicBezTo>
                    <a:pt x="290" y="693"/>
                    <a:pt x="290" y="693"/>
                    <a:pt x="290" y="693"/>
                  </a:cubicBezTo>
                  <a:cubicBezTo>
                    <a:pt x="290" y="693"/>
                    <a:pt x="293" y="698"/>
                    <a:pt x="296" y="697"/>
                  </a:cubicBezTo>
                  <a:cubicBezTo>
                    <a:pt x="299" y="696"/>
                    <a:pt x="298" y="689"/>
                    <a:pt x="298" y="689"/>
                  </a:cubicBezTo>
                  <a:cubicBezTo>
                    <a:pt x="304" y="686"/>
                    <a:pt x="304" y="686"/>
                    <a:pt x="304" y="686"/>
                  </a:cubicBezTo>
                  <a:cubicBezTo>
                    <a:pt x="304" y="686"/>
                    <a:pt x="301" y="677"/>
                    <a:pt x="304" y="675"/>
                  </a:cubicBezTo>
                  <a:cubicBezTo>
                    <a:pt x="307" y="673"/>
                    <a:pt x="309" y="678"/>
                    <a:pt x="309" y="678"/>
                  </a:cubicBezTo>
                  <a:cubicBezTo>
                    <a:pt x="318" y="673"/>
                    <a:pt x="318" y="673"/>
                    <a:pt x="318" y="673"/>
                  </a:cubicBezTo>
                  <a:cubicBezTo>
                    <a:pt x="318" y="673"/>
                    <a:pt x="318" y="667"/>
                    <a:pt x="322" y="667"/>
                  </a:cubicBezTo>
                  <a:cubicBezTo>
                    <a:pt x="326" y="667"/>
                    <a:pt x="326" y="669"/>
                    <a:pt x="326" y="669"/>
                  </a:cubicBezTo>
                  <a:cubicBezTo>
                    <a:pt x="332" y="668"/>
                    <a:pt x="332" y="668"/>
                    <a:pt x="332" y="668"/>
                  </a:cubicBezTo>
                  <a:cubicBezTo>
                    <a:pt x="332" y="668"/>
                    <a:pt x="333" y="674"/>
                    <a:pt x="337" y="675"/>
                  </a:cubicBezTo>
                  <a:cubicBezTo>
                    <a:pt x="340" y="675"/>
                    <a:pt x="345" y="672"/>
                    <a:pt x="345" y="675"/>
                  </a:cubicBezTo>
                  <a:cubicBezTo>
                    <a:pt x="345" y="679"/>
                    <a:pt x="337" y="681"/>
                    <a:pt x="337" y="681"/>
                  </a:cubicBezTo>
                  <a:cubicBezTo>
                    <a:pt x="338" y="686"/>
                    <a:pt x="338" y="686"/>
                    <a:pt x="338" y="686"/>
                  </a:cubicBezTo>
                  <a:cubicBezTo>
                    <a:pt x="341" y="684"/>
                    <a:pt x="341" y="684"/>
                    <a:pt x="341" y="684"/>
                  </a:cubicBezTo>
                  <a:cubicBezTo>
                    <a:pt x="342" y="691"/>
                    <a:pt x="342" y="691"/>
                    <a:pt x="342" y="691"/>
                  </a:cubicBezTo>
                  <a:cubicBezTo>
                    <a:pt x="352" y="693"/>
                    <a:pt x="352" y="693"/>
                    <a:pt x="352" y="693"/>
                  </a:cubicBezTo>
                  <a:cubicBezTo>
                    <a:pt x="352" y="696"/>
                    <a:pt x="352" y="696"/>
                    <a:pt x="352" y="696"/>
                  </a:cubicBezTo>
                  <a:cubicBezTo>
                    <a:pt x="346" y="696"/>
                    <a:pt x="346" y="696"/>
                    <a:pt x="346" y="696"/>
                  </a:cubicBezTo>
                  <a:cubicBezTo>
                    <a:pt x="348" y="703"/>
                    <a:pt x="348" y="703"/>
                    <a:pt x="348" y="703"/>
                  </a:cubicBezTo>
                  <a:cubicBezTo>
                    <a:pt x="357" y="699"/>
                    <a:pt x="357" y="699"/>
                    <a:pt x="357" y="699"/>
                  </a:cubicBezTo>
                  <a:cubicBezTo>
                    <a:pt x="357" y="699"/>
                    <a:pt x="357" y="706"/>
                    <a:pt x="359" y="708"/>
                  </a:cubicBezTo>
                  <a:cubicBezTo>
                    <a:pt x="361" y="710"/>
                    <a:pt x="364" y="715"/>
                    <a:pt x="363" y="722"/>
                  </a:cubicBezTo>
                  <a:cubicBezTo>
                    <a:pt x="363" y="728"/>
                    <a:pt x="361" y="731"/>
                    <a:pt x="361" y="738"/>
                  </a:cubicBezTo>
                  <a:cubicBezTo>
                    <a:pt x="361" y="743"/>
                    <a:pt x="367" y="750"/>
                    <a:pt x="367" y="750"/>
                  </a:cubicBezTo>
                  <a:cubicBezTo>
                    <a:pt x="391" y="746"/>
                    <a:pt x="391" y="746"/>
                    <a:pt x="391" y="746"/>
                  </a:cubicBezTo>
                  <a:cubicBezTo>
                    <a:pt x="391" y="746"/>
                    <a:pt x="388" y="757"/>
                    <a:pt x="381" y="758"/>
                  </a:cubicBezTo>
                  <a:cubicBezTo>
                    <a:pt x="374" y="760"/>
                    <a:pt x="366" y="759"/>
                    <a:pt x="362" y="762"/>
                  </a:cubicBezTo>
                  <a:cubicBezTo>
                    <a:pt x="358" y="766"/>
                    <a:pt x="350" y="774"/>
                    <a:pt x="346" y="776"/>
                  </a:cubicBezTo>
                  <a:cubicBezTo>
                    <a:pt x="342" y="778"/>
                    <a:pt x="331" y="779"/>
                    <a:pt x="331" y="779"/>
                  </a:cubicBezTo>
                  <a:cubicBezTo>
                    <a:pt x="330" y="789"/>
                    <a:pt x="330" y="789"/>
                    <a:pt x="330" y="789"/>
                  </a:cubicBezTo>
                  <a:cubicBezTo>
                    <a:pt x="323" y="791"/>
                    <a:pt x="323" y="791"/>
                    <a:pt x="323" y="791"/>
                  </a:cubicBezTo>
                  <a:cubicBezTo>
                    <a:pt x="323" y="791"/>
                    <a:pt x="321" y="800"/>
                    <a:pt x="321" y="804"/>
                  </a:cubicBezTo>
                  <a:cubicBezTo>
                    <a:pt x="321" y="808"/>
                    <a:pt x="326" y="813"/>
                    <a:pt x="326" y="813"/>
                  </a:cubicBezTo>
                  <a:cubicBezTo>
                    <a:pt x="326" y="813"/>
                    <a:pt x="323" y="813"/>
                    <a:pt x="321" y="815"/>
                  </a:cubicBezTo>
                  <a:cubicBezTo>
                    <a:pt x="318" y="817"/>
                    <a:pt x="317" y="821"/>
                    <a:pt x="317" y="821"/>
                  </a:cubicBezTo>
                  <a:cubicBezTo>
                    <a:pt x="313" y="824"/>
                    <a:pt x="313" y="824"/>
                    <a:pt x="313" y="824"/>
                  </a:cubicBezTo>
                  <a:cubicBezTo>
                    <a:pt x="314" y="828"/>
                    <a:pt x="314" y="828"/>
                    <a:pt x="314" y="828"/>
                  </a:cubicBezTo>
                  <a:cubicBezTo>
                    <a:pt x="322" y="826"/>
                    <a:pt x="322" y="826"/>
                    <a:pt x="322" y="826"/>
                  </a:cubicBezTo>
                  <a:cubicBezTo>
                    <a:pt x="321" y="832"/>
                    <a:pt x="321" y="832"/>
                    <a:pt x="321" y="832"/>
                  </a:cubicBezTo>
                  <a:cubicBezTo>
                    <a:pt x="327" y="830"/>
                    <a:pt x="327" y="830"/>
                    <a:pt x="327" y="830"/>
                  </a:cubicBezTo>
                  <a:cubicBezTo>
                    <a:pt x="328" y="832"/>
                    <a:pt x="328" y="832"/>
                    <a:pt x="328" y="832"/>
                  </a:cubicBezTo>
                  <a:cubicBezTo>
                    <a:pt x="337" y="832"/>
                    <a:pt x="337" y="832"/>
                    <a:pt x="337" y="832"/>
                  </a:cubicBezTo>
                  <a:cubicBezTo>
                    <a:pt x="337" y="832"/>
                    <a:pt x="339" y="836"/>
                    <a:pt x="342" y="836"/>
                  </a:cubicBezTo>
                  <a:cubicBezTo>
                    <a:pt x="346" y="835"/>
                    <a:pt x="349" y="830"/>
                    <a:pt x="352" y="833"/>
                  </a:cubicBezTo>
                  <a:cubicBezTo>
                    <a:pt x="355" y="837"/>
                    <a:pt x="345" y="840"/>
                    <a:pt x="345" y="840"/>
                  </a:cubicBezTo>
                  <a:cubicBezTo>
                    <a:pt x="345" y="840"/>
                    <a:pt x="344" y="850"/>
                    <a:pt x="340" y="849"/>
                  </a:cubicBezTo>
                  <a:cubicBezTo>
                    <a:pt x="336" y="848"/>
                    <a:pt x="323" y="847"/>
                    <a:pt x="323" y="847"/>
                  </a:cubicBezTo>
                  <a:cubicBezTo>
                    <a:pt x="323" y="847"/>
                    <a:pt x="316" y="853"/>
                    <a:pt x="312" y="854"/>
                  </a:cubicBezTo>
                  <a:cubicBezTo>
                    <a:pt x="309" y="855"/>
                    <a:pt x="297" y="856"/>
                    <a:pt x="301" y="869"/>
                  </a:cubicBezTo>
                  <a:cubicBezTo>
                    <a:pt x="306" y="881"/>
                    <a:pt x="314" y="879"/>
                    <a:pt x="321" y="876"/>
                  </a:cubicBezTo>
                  <a:cubicBezTo>
                    <a:pt x="328" y="873"/>
                    <a:pt x="336" y="869"/>
                    <a:pt x="341" y="876"/>
                  </a:cubicBezTo>
                  <a:cubicBezTo>
                    <a:pt x="346" y="881"/>
                    <a:pt x="363" y="897"/>
                    <a:pt x="367" y="896"/>
                  </a:cubicBezTo>
                  <a:cubicBezTo>
                    <a:pt x="373" y="896"/>
                    <a:pt x="378" y="894"/>
                    <a:pt x="385" y="903"/>
                  </a:cubicBezTo>
                  <a:cubicBezTo>
                    <a:pt x="391" y="912"/>
                    <a:pt x="390" y="921"/>
                    <a:pt x="390" y="921"/>
                  </a:cubicBezTo>
                  <a:cubicBezTo>
                    <a:pt x="393" y="921"/>
                    <a:pt x="393" y="921"/>
                    <a:pt x="393" y="921"/>
                  </a:cubicBezTo>
                  <a:cubicBezTo>
                    <a:pt x="397" y="915"/>
                    <a:pt x="397" y="915"/>
                    <a:pt x="397" y="915"/>
                  </a:cubicBezTo>
                  <a:cubicBezTo>
                    <a:pt x="402" y="915"/>
                    <a:pt x="402" y="915"/>
                    <a:pt x="402" y="915"/>
                  </a:cubicBezTo>
                  <a:cubicBezTo>
                    <a:pt x="402" y="915"/>
                    <a:pt x="402" y="911"/>
                    <a:pt x="406" y="910"/>
                  </a:cubicBezTo>
                  <a:cubicBezTo>
                    <a:pt x="408" y="910"/>
                    <a:pt x="408" y="910"/>
                    <a:pt x="408" y="910"/>
                  </a:cubicBezTo>
                  <a:cubicBezTo>
                    <a:pt x="408" y="310"/>
                    <a:pt x="408" y="310"/>
                    <a:pt x="408" y="310"/>
                  </a:cubicBezTo>
                  <a:cubicBezTo>
                    <a:pt x="399" y="314"/>
                    <a:pt x="387" y="321"/>
                    <a:pt x="379" y="31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Russ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816930" y="681942"/>
              <a:ext cx="4327067" cy="3259542"/>
            </a:xfrm>
            <a:custGeom>
              <a:avLst/>
              <a:gdLst/>
              <a:ahLst/>
              <a:cxnLst>
                <a:cxn ang="0">
                  <a:pos x="1488" y="171"/>
                </a:cxn>
                <a:cxn ang="0">
                  <a:pos x="1498" y="124"/>
                </a:cxn>
                <a:cxn ang="0">
                  <a:pos x="1455" y="94"/>
                </a:cxn>
                <a:cxn ang="0">
                  <a:pos x="1505" y="40"/>
                </a:cxn>
                <a:cxn ang="0">
                  <a:pos x="236" y="29"/>
                </a:cxn>
                <a:cxn ang="0">
                  <a:pos x="258" y="176"/>
                </a:cxn>
                <a:cxn ang="0">
                  <a:pos x="231" y="243"/>
                </a:cxn>
                <a:cxn ang="0">
                  <a:pos x="269" y="266"/>
                </a:cxn>
                <a:cxn ang="0">
                  <a:pos x="245" y="302"/>
                </a:cxn>
                <a:cxn ang="0">
                  <a:pos x="232" y="359"/>
                </a:cxn>
                <a:cxn ang="0">
                  <a:pos x="242" y="440"/>
                </a:cxn>
                <a:cxn ang="0">
                  <a:pos x="272" y="483"/>
                </a:cxn>
                <a:cxn ang="0">
                  <a:pos x="291" y="527"/>
                </a:cxn>
                <a:cxn ang="0">
                  <a:pos x="402" y="538"/>
                </a:cxn>
                <a:cxn ang="0">
                  <a:pos x="466" y="641"/>
                </a:cxn>
                <a:cxn ang="0">
                  <a:pos x="461" y="682"/>
                </a:cxn>
                <a:cxn ang="0">
                  <a:pos x="526" y="719"/>
                </a:cxn>
                <a:cxn ang="0">
                  <a:pos x="592" y="744"/>
                </a:cxn>
                <a:cxn ang="0">
                  <a:pos x="648" y="767"/>
                </a:cxn>
                <a:cxn ang="0">
                  <a:pos x="721" y="786"/>
                </a:cxn>
                <a:cxn ang="0">
                  <a:pos x="782" y="778"/>
                </a:cxn>
                <a:cxn ang="0">
                  <a:pos x="845" y="778"/>
                </a:cxn>
                <a:cxn ang="0">
                  <a:pos x="885" y="828"/>
                </a:cxn>
                <a:cxn ang="0">
                  <a:pos x="861" y="913"/>
                </a:cxn>
                <a:cxn ang="0">
                  <a:pos x="893" y="940"/>
                </a:cxn>
                <a:cxn ang="0">
                  <a:pos x="843" y="992"/>
                </a:cxn>
                <a:cxn ang="0">
                  <a:pos x="862" y="1057"/>
                </a:cxn>
                <a:cxn ang="0">
                  <a:pos x="851" y="1097"/>
                </a:cxn>
                <a:cxn ang="0">
                  <a:pos x="926" y="1125"/>
                </a:cxn>
                <a:cxn ang="0">
                  <a:pos x="1024" y="1154"/>
                </a:cxn>
                <a:cxn ang="0">
                  <a:pos x="1143" y="1118"/>
                </a:cxn>
                <a:cxn ang="0">
                  <a:pos x="1259" y="1103"/>
                </a:cxn>
                <a:cxn ang="0">
                  <a:pos x="1367" y="1105"/>
                </a:cxn>
                <a:cxn ang="0">
                  <a:pos x="1445" y="1060"/>
                </a:cxn>
                <a:cxn ang="0">
                  <a:pos x="1341" y="977"/>
                </a:cxn>
                <a:cxn ang="0">
                  <a:pos x="1308" y="960"/>
                </a:cxn>
                <a:cxn ang="0">
                  <a:pos x="1286" y="870"/>
                </a:cxn>
                <a:cxn ang="0">
                  <a:pos x="1322" y="838"/>
                </a:cxn>
                <a:cxn ang="0">
                  <a:pos x="1331" y="813"/>
                </a:cxn>
                <a:cxn ang="0">
                  <a:pos x="1249" y="746"/>
                </a:cxn>
                <a:cxn ang="0">
                  <a:pos x="1146" y="693"/>
                </a:cxn>
                <a:cxn ang="0">
                  <a:pos x="1185" y="585"/>
                </a:cxn>
                <a:cxn ang="0">
                  <a:pos x="1183" y="508"/>
                </a:cxn>
                <a:cxn ang="0">
                  <a:pos x="1228" y="456"/>
                </a:cxn>
                <a:cxn ang="0">
                  <a:pos x="1306" y="408"/>
                </a:cxn>
                <a:cxn ang="0">
                  <a:pos x="1358" y="405"/>
                </a:cxn>
                <a:cxn ang="0">
                  <a:pos x="1430" y="352"/>
                </a:cxn>
                <a:cxn ang="0">
                  <a:pos x="1532" y="310"/>
                </a:cxn>
                <a:cxn ang="0">
                  <a:pos x="324" y="264"/>
                </a:cxn>
                <a:cxn ang="0">
                  <a:pos x="286" y="156"/>
                </a:cxn>
                <a:cxn ang="0">
                  <a:pos x="321" y="175"/>
                </a:cxn>
                <a:cxn ang="0">
                  <a:pos x="425" y="131"/>
                </a:cxn>
                <a:cxn ang="0">
                  <a:pos x="375" y="84"/>
                </a:cxn>
                <a:cxn ang="0">
                  <a:pos x="402" y="87"/>
                </a:cxn>
                <a:cxn ang="0">
                  <a:pos x="376" y="52"/>
                </a:cxn>
                <a:cxn ang="0">
                  <a:pos x="464" y="146"/>
                </a:cxn>
                <a:cxn ang="0">
                  <a:pos x="51" y="628"/>
                </a:cxn>
                <a:cxn ang="0">
                  <a:pos x="41" y="627"/>
                </a:cxn>
                <a:cxn ang="0">
                  <a:pos x="3" y="676"/>
                </a:cxn>
                <a:cxn ang="0">
                  <a:pos x="3" y="687"/>
                </a:cxn>
              </a:cxnLst>
              <a:rect l="0" t="0" r="r" b="b"/>
              <a:pathLst>
                <a:path w="1532" h="1155">
                  <a:moveTo>
                    <a:pt x="1522" y="230"/>
                  </a:moveTo>
                  <a:cubicBezTo>
                    <a:pt x="1522" y="230"/>
                    <a:pt x="1526" y="226"/>
                    <a:pt x="1522" y="222"/>
                  </a:cubicBezTo>
                  <a:cubicBezTo>
                    <a:pt x="1520" y="219"/>
                    <a:pt x="1504" y="229"/>
                    <a:pt x="1504" y="229"/>
                  </a:cubicBezTo>
                  <a:cubicBezTo>
                    <a:pt x="1501" y="224"/>
                    <a:pt x="1501" y="224"/>
                    <a:pt x="1501" y="224"/>
                  </a:cubicBezTo>
                  <a:cubicBezTo>
                    <a:pt x="1509" y="201"/>
                    <a:pt x="1509" y="201"/>
                    <a:pt x="1509" y="201"/>
                  </a:cubicBezTo>
                  <a:cubicBezTo>
                    <a:pt x="1515" y="199"/>
                    <a:pt x="1515" y="199"/>
                    <a:pt x="1515" y="199"/>
                  </a:cubicBezTo>
                  <a:cubicBezTo>
                    <a:pt x="1517" y="177"/>
                    <a:pt x="1517" y="177"/>
                    <a:pt x="1517" y="177"/>
                  </a:cubicBezTo>
                  <a:cubicBezTo>
                    <a:pt x="1507" y="174"/>
                    <a:pt x="1507" y="174"/>
                    <a:pt x="1507" y="174"/>
                  </a:cubicBezTo>
                  <a:cubicBezTo>
                    <a:pt x="1502" y="176"/>
                    <a:pt x="1502" y="176"/>
                    <a:pt x="1502" y="176"/>
                  </a:cubicBezTo>
                  <a:cubicBezTo>
                    <a:pt x="1488" y="171"/>
                    <a:pt x="1488" y="171"/>
                    <a:pt x="1488" y="171"/>
                  </a:cubicBezTo>
                  <a:cubicBezTo>
                    <a:pt x="1488" y="171"/>
                    <a:pt x="1491" y="154"/>
                    <a:pt x="1491" y="152"/>
                  </a:cubicBezTo>
                  <a:cubicBezTo>
                    <a:pt x="1491" y="151"/>
                    <a:pt x="1485" y="149"/>
                    <a:pt x="1485" y="149"/>
                  </a:cubicBezTo>
                  <a:cubicBezTo>
                    <a:pt x="1496" y="141"/>
                    <a:pt x="1496" y="141"/>
                    <a:pt x="1496" y="141"/>
                  </a:cubicBezTo>
                  <a:cubicBezTo>
                    <a:pt x="1501" y="136"/>
                    <a:pt x="1501" y="136"/>
                    <a:pt x="1501" y="136"/>
                  </a:cubicBezTo>
                  <a:cubicBezTo>
                    <a:pt x="1510" y="135"/>
                    <a:pt x="1510" y="135"/>
                    <a:pt x="1510" y="135"/>
                  </a:cubicBezTo>
                  <a:cubicBezTo>
                    <a:pt x="1510" y="135"/>
                    <a:pt x="1516" y="126"/>
                    <a:pt x="1520" y="124"/>
                  </a:cubicBezTo>
                  <a:cubicBezTo>
                    <a:pt x="1524" y="122"/>
                    <a:pt x="1522" y="119"/>
                    <a:pt x="1517" y="115"/>
                  </a:cubicBezTo>
                  <a:cubicBezTo>
                    <a:pt x="1513" y="111"/>
                    <a:pt x="1511" y="117"/>
                    <a:pt x="1506" y="119"/>
                  </a:cubicBezTo>
                  <a:cubicBezTo>
                    <a:pt x="1503" y="120"/>
                    <a:pt x="1497" y="120"/>
                    <a:pt x="1497" y="120"/>
                  </a:cubicBezTo>
                  <a:cubicBezTo>
                    <a:pt x="1498" y="124"/>
                    <a:pt x="1498" y="124"/>
                    <a:pt x="1498" y="124"/>
                  </a:cubicBezTo>
                  <a:cubicBezTo>
                    <a:pt x="1482" y="129"/>
                    <a:pt x="1482" y="129"/>
                    <a:pt x="1482" y="129"/>
                  </a:cubicBezTo>
                  <a:cubicBezTo>
                    <a:pt x="1478" y="116"/>
                    <a:pt x="1478" y="116"/>
                    <a:pt x="1478" y="116"/>
                  </a:cubicBezTo>
                  <a:cubicBezTo>
                    <a:pt x="1478" y="116"/>
                    <a:pt x="1488" y="111"/>
                    <a:pt x="1483" y="108"/>
                  </a:cubicBezTo>
                  <a:cubicBezTo>
                    <a:pt x="1478" y="104"/>
                    <a:pt x="1472" y="116"/>
                    <a:pt x="1472" y="116"/>
                  </a:cubicBezTo>
                  <a:cubicBezTo>
                    <a:pt x="1466" y="115"/>
                    <a:pt x="1466" y="115"/>
                    <a:pt x="1466" y="115"/>
                  </a:cubicBezTo>
                  <a:cubicBezTo>
                    <a:pt x="1457" y="119"/>
                    <a:pt x="1457" y="119"/>
                    <a:pt x="1457" y="119"/>
                  </a:cubicBezTo>
                  <a:cubicBezTo>
                    <a:pt x="1460" y="113"/>
                    <a:pt x="1460" y="113"/>
                    <a:pt x="1460" y="113"/>
                  </a:cubicBezTo>
                  <a:cubicBezTo>
                    <a:pt x="1458" y="101"/>
                    <a:pt x="1458" y="101"/>
                    <a:pt x="1458" y="101"/>
                  </a:cubicBezTo>
                  <a:cubicBezTo>
                    <a:pt x="1446" y="103"/>
                    <a:pt x="1446" y="103"/>
                    <a:pt x="1446" y="103"/>
                  </a:cubicBezTo>
                  <a:cubicBezTo>
                    <a:pt x="1455" y="94"/>
                    <a:pt x="1455" y="94"/>
                    <a:pt x="1455" y="94"/>
                  </a:cubicBezTo>
                  <a:cubicBezTo>
                    <a:pt x="1451" y="92"/>
                    <a:pt x="1451" y="92"/>
                    <a:pt x="1451" y="92"/>
                  </a:cubicBezTo>
                  <a:cubicBezTo>
                    <a:pt x="1452" y="84"/>
                    <a:pt x="1452" y="84"/>
                    <a:pt x="1452" y="84"/>
                  </a:cubicBezTo>
                  <a:cubicBezTo>
                    <a:pt x="1465" y="84"/>
                    <a:pt x="1465" y="84"/>
                    <a:pt x="1465" y="84"/>
                  </a:cubicBezTo>
                  <a:cubicBezTo>
                    <a:pt x="1467" y="78"/>
                    <a:pt x="1467" y="78"/>
                    <a:pt x="1467" y="78"/>
                  </a:cubicBezTo>
                  <a:cubicBezTo>
                    <a:pt x="1476" y="80"/>
                    <a:pt x="1476" y="80"/>
                    <a:pt x="1476" y="80"/>
                  </a:cubicBezTo>
                  <a:cubicBezTo>
                    <a:pt x="1478" y="73"/>
                    <a:pt x="1478" y="73"/>
                    <a:pt x="1478" y="73"/>
                  </a:cubicBezTo>
                  <a:cubicBezTo>
                    <a:pt x="1486" y="61"/>
                    <a:pt x="1486" y="61"/>
                    <a:pt x="1486" y="61"/>
                  </a:cubicBezTo>
                  <a:cubicBezTo>
                    <a:pt x="1486" y="61"/>
                    <a:pt x="1489" y="70"/>
                    <a:pt x="1495" y="67"/>
                  </a:cubicBezTo>
                  <a:cubicBezTo>
                    <a:pt x="1500" y="65"/>
                    <a:pt x="1490" y="53"/>
                    <a:pt x="1490" y="53"/>
                  </a:cubicBezTo>
                  <a:cubicBezTo>
                    <a:pt x="1505" y="40"/>
                    <a:pt x="1505" y="40"/>
                    <a:pt x="1505" y="40"/>
                  </a:cubicBezTo>
                  <a:cubicBezTo>
                    <a:pt x="1501" y="33"/>
                    <a:pt x="1501" y="33"/>
                    <a:pt x="1501" y="33"/>
                  </a:cubicBezTo>
                  <a:cubicBezTo>
                    <a:pt x="1509" y="30"/>
                    <a:pt x="1509" y="30"/>
                    <a:pt x="1509" y="30"/>
                  </a:cubicBezTo>
                  <a:cubicBezTo>
                    <a:pt x="1515" y="18"/>
                    <a:pt x="1515" y="18"/>
                    <a:pt x="1515" y="18"/>
                  </a:cubicBezTo>
                  <a:cubicBezTo>
                    <a:pt x="1515" y="18"/>
                    <a:pt x="1521" y="18"/>
                    <a:pt x="1522" y="15"/>
                  </a:cubicBezTo>
                  <a:cubicBezTo>
                    <a:pt x="1524" y="12"/>
                    <a:pt x="1519" y="9"/>
                    <a:pt x="1519" y="9"/>
                  </a:cubicBezTo>
                  <a:cubicBezTo>
                    <a:pt x="1525" y="0"/>
                    <a:pt x="1525" y="0"/>
                    <a:pt x="1525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6" y="1"/>
                    <a:pt x="236" y="1"/>
                    <a:pt x="236" y="1"/>
                  </a:cubicBezTo>
                  <a:cubicBezTo>
                    <a:pt x="240" y="10"/>
                    <a:pt x="235" y="25"/>
                    <a:pt x="235" y="25"/>
                  </a:cubicBezTo>
                  <a:cubicBezTo>
                    <a:pt x="236" y="29"/>
                    <a:pt x="236" y="29"/>
                    <a:pt x="236" y="29"/>
                  </a:cubicBezTo>
                  <a:cubicBezTo>
                    <a:pt x="227" y="35"/>
                    <a:pt x="227" y="35"/>
                    <a:pt x="227" y="35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59" y="51"/>
                    <a:pt x="259" y="51"/>
                    <a:pt x="259" y="51"/>
                  </a:cubicBezTo>
                  <a:cubicBezTo>
                    <a:pt x="275" y="59"/>
                    <a:pt x="275" y="59"/>
                    <a:pt x="275" y="59"/>
                  </a:cubicBezTo>
                  <a:cubicBezTo>
                    <a:pt x="278" y="67"/>
                    <a:pt x="278" y="67"/>
                    <a:pt x="278" y="67"/>
                  </a:cubicBezTo>
                  <a:cubicBezTo>
                    <a:pt x="278" y="67"/>
                    <a:pt x="290" y="67"/>
                    <a:pt x="291" y="73"/>
                  </a:cubicBezTo>
                  <a:cubicBezTo>
                    <a:pt x="291" y="79"/>
                    <a:pt x="289" y="103"/>
                    <a:pt x="287" y="107"/>
                  </a:cubicBezTo>
                  <a:cubicBezTo>
                    <a:pt x="284" y="115"/>
                    <a:pt x="284" y="115"/>
                    <a:pt x="284" y="115"/>
                  </a:cubicBezTo>
                  <a:cubicBezTo>
                    <a:pt x="284" y="115"/>
                    <a:pt x="275" y="128"/>
                    <a:pt x="272" y="140"/>
                  </a:cubicBezTo>
                  <a:cubicBezTo>
                    <a:pt x="269" y="151"/>
                    <a:pt x="261" y="171"/>
                    <a:pt x="258" y="176"/>
                  </a:cubicBezTo>
                  <a:cubicBezTo>
                    <a:pt x="255" y="182"/>
                    <a:pt x="250" y="195"/>
                    <a:pt x="250" y="195"/>
                  </a:cubicBezTo>
                  <a:cubicBezTo>
                    <a:pt x="237" y="209"/>
                    <a:pt x="237" y="209"/>
                    <a:pt x="237" y="209"/>
                  </a:cubicBezTo>
                  <a:cubicBezTo>
                    <a:pt x="236" y="218"/>
                    <a:pt x="236" y="218"/>
                    <a:pt x="236" y="218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21" y="236"/>
                    <a:pt x="221" y="236"/>
                    <a:pt x="221" y="236"/>
                  </a:cubicBezTo>
                  <a:cubicBezTo>
                    <a:pt x="213" y="252"/>
                    <a:pt x="213" y="252"/>
                    <a:pt x="213" y="252"/>
                  </a:cubicBezTo>
                  <a:cubicBezTo>
                    <a:pt x="213" y="253"/>
                    <a:pt x="213" y="253"/>
                    <a:pt x="213" y="253"/>
                  </a:cubicBezTo>
                  <a:cubicBezTo>
                    <a:pt x="216" y="254"/>
                    <a:pt x="216" y="254"/>
                    <a:pt x="216" y="254"/>
                  </a:cubicBezTo>
                  <a:cubicBezTo>
                    <a:pt x="225" y="252"/>
                    <a:pt x="225" y="252"/>
                    <a:pt x="225" y="252"/>
                  </a:cubicBezTo>
                  <a:cubicBezTo>
                    <a:pt x="231" y="243"/>
                    <a:pt x="231" y="243"/>
                    <a:pt x="231" y="243"/>
                  </a:cubicBezTo>
                  <a:cubicBezTo>
                    <a:pt x="235" y="239"/>
                    <a:pt x="235" y="239"/>
                    <a:pt x="235" y="239"/>
                  </a:cubicBezTo>
                  <a:cubicBezTo>
                    <a:pt x="235" y="239"/>
                    <a:pt x="236" y="234"/>
                    <a:pt x="238" y="235"/>
                  </a:cubicBezTo>
                  <a:cubicBezTo>
                    <a:pt x="241" y="236"/>
                    <a:pt x="239" y="239"/>
                    <a:pt x="239" y="239"/>
                  </a:cubicBezTo>
                  <a:cubicBezTo>
                    <a:pt x="242" y="253"/>
                    <a:pt x="242" y="253"/>
                    <a:pt x="242" y="253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4" y="249"/>
                    <a:pt x="234" y="249"/>
                    <a:pt x="234" y="249"/>
                  </a:cubicBezTo>
                  <a:cubicBezTo>
                    <a:pt x="241" y="257"/>
                    <a:pt x="241" y="257"/>
                    <a:pt x="241" y="257"/>
                  </a:cubicBezTo>
                  <a:cubicBezTo>
                    <a:pt x="246" y="259"/>
                    <a:pt x="246" y="259"/>
                    <a:pt x="246" y="259"/>
                  </a:cubicBezTo>
                  <a:cubicBezTo>
                    <a:pt x="256" y="267"/>
                    <a:pt x="256" y="267"/>
                    <a:pt x="256" y="267"/>
                  </a:cubicBezTo>
                  <a:cubicBezTo>
                    <a:pt x="256" y="267"/>
                    <a:pt x="260" y="269"/>
                    <a:pt x="269" y="266"/>
                  </a:cubicBezTo>
                  <a:cubicBezTo>
                    <a:pt x="276" y="262"/>
                    <a:pt x="281" y="257"/>
                    <a:pt x="286" y="261"/>
                  </a:cubicBezTo>
                  <a:cubicBezTo>
                    <a:pt x="291" y="265"/>
                    <a:pt x="292" y="269"/>
                    <a:pt x="292" y="269"/>
                  </a:cubicBezTo>
                  <a:cubicBezTo>
                    <a:pt x="301" y="270"/>
                    <a:pt x="301" y="270"/>
                    <a:pt x="301" y="270"/>
                  </a:cubicBezTo>
                  <a:cubicBezTo>
                    <a:pt x="299" y="278"/>
                    <a:pt x="299" y="278"/>
                    <a:pt x="299" y="278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1" y="281"/>
                    <a:pt x="261" y="281"/>
                    <a:pt x="261" y="281"/>
                  </a:cubicBezTo>
                  <a:cubicBezTo>
                    <a:pt x="261" y="281"/>
                    <a:pt x="270" y="287"/>
                    <a:pt x="262" y="290"/>
                  </a:cubicBezTo>
                  <a:cubicBezTo>
                    <a:pt x="255" y="294"/>
                    <a:pt x="249" y="290"/>
                    <a:pt x="249" y="290"/>
                  </a:cubicBezTo>
                  <a:cubicBezTo>
                    <a:pt x="243" y="294"/>
                    <a:pt x="243" y="294"/>
                    <a:pt x="243" y="294"/>
                  </a:cubicBezTo>
                  <a:cubicBezTo>
                    <a:pt x="243" y="294"/>
                    <a:pt x="251" y="300"/>
                    <a:pt x="245" y="302"/>
                  </a:cubicBezTo>
                  <a:cubicBezTo>
                    <a:pt x="240" y="303"/>
                    <a:pt x="236" y="296"/>
                    <a:pt x="236" y="296"/>
                  </a:cubicBezTo>
                  <a:cubicBezTo>
                    <a:pt x="234" y="299"/>
                    <a:pt x="234" y="299"/>
                    <a:pt x="234" y="299"/>
                  </a:cubicBezTo>
                  <a:cubicBezTo>
                    <a:pt x="234" y="304"/>
                    <a:pt x="234" y="304"/>
                    <a:pt x="234" y="304"/>
                  </a:cubicBezTo>
                  <a:cubicBezTo>
                    <a:pt x="239" y="310"/>
                    <a:pt x="239" y="310"/>
                    <a:pt x="239" y="310"/>
                  </a:cubicBezTo>
                  <a:cubicBezTo>
                    <a:pt x="238" y="317"/>
                    <a:pt x="238" y="317"/>
                    <a:pt x="238" y="317"/>
                  </a:cubicBezTo>
                  <a:cubicBezTo>
                    <a:pt x="244" y="322"/>
                    <a:pt x="244" y="322"/>
                    <a:pt x="244" y="322"/>
                  </a:cubicBezTo>
                  <a:cubicBezTo>
                    <a:pt x="244" y="322"/>
                    <a:pt x="238" y="326"/>
                    <a:pt x="238" y="328"/>
                  </a:cubicBezTo>
                  <a:cubicBezTo>
                    <a:pt x="238" y="329"/>
                    <a:pt x="240" y="331"/>
                    <a:pt x="240" y="331"/>
                  </a:cubicBezTo>
                  <a:cubicBezTo>
                    <a:pt x="237" y="347"/>
                    <a:pt x="237" y="347"/>
                    <a:pt x="237" y="347"/>
                  </a:cubicBezTo>
                  <a:cubicBezTo>
                    <a:pt x="237" y="347"/>
                    <a:pt x="233" y="357"/>
                    <a:pt x="232" y="359"/>
                  </a:cubicBezTo>
                  <a:cubicBezTo>
                    <a:pt x="229" y="361"/>
                    <a:pt x="226" y="364"/>
                    <a:pt x="226" y="364"/>
                  </a:cubicBezTo>
                  <a:cubicBezTo>
                    <a:pt x="226" y="364"/>
                    <a:pt x="232" y="376"/>
                    <a:pt x="235" y="382"/>
                  </a:cubicBezTo>
                  <a:cubicBezTo>
                    <a:pt x="238" y="389"/>
                    <a:pt x="239" y="399"/>
                    <a:pt x="239" y="399"/>
                  </a:cubicBezTo>
                  <a:cubicBezTo>
                    <a:pt x="239" y="399"/>
                    <a:pt x="244" y="403"/>
                    <a:pt x="244" y="406"/>
                  </a:cubicBezTo>
                  <a:cubicBezTo>
                    <a:pt x="245" y="410"/>
                    <a:pt x="245" y="413"/>
                    <a:pt x="245" y="413"/>
                  </a:cubicBezTo>
                  <a:cubicBezTo>
                    <a:pt x="245" y="413"/>
                    <a:pt x="255" y="419"/>
                    <a:pt x="255" y="421"/>
                  </a:cubicBezTo>
                  <a:cubicBezTo>
                    <a:pt x="254" y="423"/>
                    <a:pt x="245" y="425"/>
                    <a:pt x="245" y="425"/>
                  </a:cubicBezTo>
                  <a:cubicBezTo>
                    <a:pt x="245" y="425"/>
                    <a:pt x="248" y="429"/>
                    <a:pt x="248" y="431"/>
                  </a:cubicBezTo>
                  <a:cubicBezTo>
                    <a:pt x="246" y="434"/>
                    <a:pt x="243" y="434"/>
                    <a:pt x="243" y="434"/>
                  </a:cubicBezTo>
                  <a:cubicBezTo>
                    <a:pt x="242" y="440"/>
                    <a:pt x="242" y="440"/>
                    <a:pt x="242" y="440"/>
                  </a:cubicBezTo>
                  <a:cubicBezTo>
                    <a:pt x="243" y="444"/>
                    <a:pt x="243" y="444"/>
                    <a:pt x="243" y="444"/>
                  </a:cubicBezTo>
                  <a:cubicBezTo>
                    <a:pt x="246" y="443"/>
                    <a:pt x="250" y="443"/>
                    <a:pt x="250" y="443"/>
                  </a:cubicBezTo>
                  <a:cubicBezTo>
                    <a:pt x="252" y="450"/>
                    <a:pt x="252" y="450"/>
                    <a:pt x="252" y="450"/>
                  </a:cubicBezTo>
                  <a:cubicBezTo>
                    <a:pt x="252" y="450"/>
                    <a:pt x="259" y="451"/>
                    <a:pt x="261" y="452"/>
                  </a:cubicBezTo>
                  <a:cubicBezTo>
                    <a:pt x="264" y="453"/>
                    <a:pt x="267" y="456"/>
                    <a:pt x="267" y="456"/>
                  </a:cubicBezTo>
                  <a:cubicBezTo>
                    <a:pt x="267" y="467"/>
                    <a:pt x="267" y="467"/>
                    <a:pt x="267" y="467"/>
                  </a:cubicBezTo>
                  <a:cubicBezTo>
                    <a:pt x="264" y="471"/>
                    <a:pt x="264" y="471"/>
                    <a:pt x="264" y="471"/>
                  </a:cubicBezTo>
                  <a:cubicBezTo>
                    <a:pt x="266" y="475"/>
                    <a:pt x="266" y="475"/>
                    <a:pt x="266" y="475"/>
                  </a:cubicBezTo>
                  <a:cubicBezTo>
                    <a:pt x="264" y="486"/>
                    <a:pt x="264" y="486"/>
                    <a:pt x="264" y="486"/>
                  </a:cubicBezTo>
                  <a:cubicBezTo>
                    <a:pt x="264" y="486"/>
                    <a:pt x="269" y="483"/>
                    <a:pt x="272" y="483"/>
                  </a:cubicBezTo>
                  <a:cubicBezTo>
                    <a:pt x="274" y="483"/>
                    <a:pt x="276" y="486"/>
                    <a:pt x="276" y="486"/>
                  </a:cubicBezTo>
                  <a:cubicBezTo>
                    <a:pt x="274" y="491"/>
                    <a:pt x="274" y="491"/>
                    <a:pt x="274" y="491"/>
                  </a:cubicBezTo>
                  <a:cubicBezTo>
                    <a:pt x="282" y="493"/>
                    <a:pt x="282" y="493"/>
                    <a:pt x="282" y="493"/>
                  </a:cubicBezTo>
                  <a:cubicBezTo>
                    <a:pt x="283" y="498"/>
                    <a:pt x="283" y="498"/>
                    <a:pt x="283" y="498"/>
                  </a:cubicBezTo>
                  <a:cubicBezTo>
                    <a:pt x="286" y="499"/>
                    <a:pt x="286" y="499"/>
                    <a:pt x="286" y="499"/>
                  </a:cubicBezTo>
                  <a:cubicBezTo>
                    <a:pt x="289" y="508"/>
                    <a:pt x="289" y="508"/>
                    <a:pt x="289" y="508"/>
                  </a:cubicBezTo>
                  <a:cubicBezTo>
                    <a:pt x="291" y="514"/>
                    <a:pt x="291" y="514"/>
                    <a:pt x="291" y="514"/>
                  </a:cubicBezTo>
                  <a:cubicBezTo>
                    <a:pt x="293" y="515"/>
                    <a:pt x="293" y="515"/>
                    <a:pt x="293" y="515"/>
                  </a:cubicBezTo>
                  <a:cubicBezTo>
                    <a:pt x="293" y="515"/>
                    <a:pt x="294" y="522"/>
                    <a:pt x="292" y="526"/>
                  </a:cubicBezTo>
                  <a:cubicBezTo>
                    <a:pt x="291" y="526"/>
                    <a:pt x="291" y="526"/>
                    <a:pt x="291" y="527"/>
                  </a:cubicBezTo>
                  <a:cubicBezTo>
                    <a:pt x="293" y="527"/>
                    <a:pt x="295" y="529"/>
                    <a:pt x="298" y="529"/>
                  </a:cubicBezTo>
                  <a:cubicBezTo>
                    <a:pt x="301" y="529"/>
                    <a:pt x="307" y="524"/>
                    <a:pt x="313" y="525"/>
                  </a:cubicBezTo>
                  <a:cubicBezTo>
                    <a:pt x="318" y="526"/>
                    <a:pt x="310" y="534"/>
                    <a:pt x="317" y="535"/>
                  </a:cubicBezTo>
                  <a:cubicBezTo>
                    <a:pt x="322" y="536"/>
                    <a:pt x="321" y="530"/>
                    <a:pt x="323" y="529"/>
                  </a:cubicBezTo>
                  <a:cubicBezTo>
                    <a:pt x="324" y="526"/>
                    <a:pt x="338" y="524"/>
                    <a:pt x="343" y="529"/>
                  </a:cubicBezTo>
                  <a:cubicBezTo>
                    <a:pt x="349" y="533"/>
                    <a:pt x="337" y="542"/>
                    <a:pt x="348" y="544"/>
                  </a:cubicBezTo>
                  <a:cubicBezTo>
                    <a:pt x="357" y="544"/>
                    <a:pt x="351" y="536"/>
                    <a:pt x="351" y="536"/>
                  </a:cubicBezTo>
                  <a:cubicBezTo>
                    <a:pt x="351" y="536"/>
                    <a:pt x="357" y="534"/>
                    <a:pt x="365" y="531"/>
                  </a:cubicBezTo>
                  <a:cubicBezTo>
                    <a:pt x="371" y="527"/>
                    <a:pt x="379" y="527"/>
                    <a:pt x="384" y="532"/>
                  </a:cubicBezTo>
                  <a:cubicBezTo>
                    <a:pt x="390" y="535"/>
                    <a:pt x="396" y="532"/>
                    <a:pt x="402" y="538"/>
                  </a:cubicBezTo>
                  <a:cubicBezTo>
                    <a:pt x="409" y="545"/>
                    <a:pt x="401" y="554"/>
                    <a:pt x="401" y="554"/>
                  </a:cubicBezTo>
                  <a:cubicBezTo>
                    <a:pt x="413" y="570"/>
                    <a:pt x="413" y="570"/>
                    <a:pt x="413" y="570"/>
                  </a:cubicBezTo>
                  <a:cubicBezTo>
                    <a:pt x="411" y="588"/>
                    <a:pt x="411" y="588"/>
                    <a:pt x="411" y="588"/>
                  </a:cubicBezTo>
                  <a:cubicBezTo>
                    <a:pt x="411" y="588"/>
                    <a:pt x="422" y="590"/>
                    <a:pt x="429" y="594"/>
                  </a:cubicBezTo>
                  <a:cubicBezTo>
                    <a:pt x="435" y="597"/>
                    <a:pt x="426" y="604"/>
                    <a:pt x="426" y="604"/>
                  </a:cubicBezTo>
                  <a:cubicBezTo>
                    <a:pt x="434" y="606"/>
                    <a:pt x="434" y="606"/>
                    <a:pt x="434" y="606"/>
                  </a:cubicBezTo>
                  <a:cubicBezTo>
                    <a:pt x="434" y="606"/>
                    <a:pt x="435" y="611"/>
                    <a:pt x="437" y="615"/>
                  </a:cubicBezTo>
                  <a:cubicBezTo>
                    <a:pt x="438" y="619"/>
                    <a:pt x="456" y="620"/>
                    <a:pt x="456" y="620"/>
                  </a:cubicBezTo>
                  <a:cubicBezTo>
                    <a:pt x="456" y="620"/>
                    <a:pt x="462" y="621"/>
                    <a:pt x="465" y="625"/>
                  </a:cubicBezTo>
                  <a:cubicBezTo>
                    <a:pt x="468" y="628"/>
                    <a:pt x="466" y="641"/>
                    <a:pt x="466" y="641"/>
                  </a:cubicBezTo>
                  <a:cubicBezTo>
                    <a:pt x="479" y="637"/>
                    <a:pt x="479" y="637"/>
                    <a:pt x="479" y="637"/>
                  </a:cubicBezTo>
                  <a:cubicBezTo>
                    <a:pt x="495" y="639"/>
                    <a:pt x="495" y="639"/>
                    <a:pt x="495" y="639"/>
                  </a:cubicBezTo>
                  <a:cubicBezTo>
                    <a:pt x="490" y="646"/>
                    <a:pt x="490" y="646"/>
                    <a:pt x="490" y="646"/>
                  </a:cubicBezTo>
                  <a:cubicBezTo>
                    <a:pt x="510" y="655"/>
                    <a:pt x="510" y="655"/>
                    <a:pt x="510" y="655"/>
                  </a:cubicBezTo>
                  <a:cubicBezTo>
                    <a:pt x="511" y="660"/>
                    <a:pt x="511" y="660"/>
                    <a:pt x="511" y="660"/>
                  </a:cubicBezTo>
                  <a:cubicBezTo>
                    <a:pt x="500" y="664"/>
                    <a:pt x="500" y="664"/>
                    <a:pt x="500" y="664"/>
                  </a:cubicBezTo>
                  <a:cubicBezTo>
                    <a:pt x="502" y="669"/>
                    <a:pt x="502" y="669"/>
                    <a:pt x="502" y="669"/>
                  </a:cubicBezTo>
                  <a:cubicBezTo>
                    <a:pt x="502" y="669"/>
                    <a:pt x="499" y="677"/>
                    <a:pt x="490" y="681"/>
                  </a:cubicBezTo>
                  <a:cubicBezTo>
                    <a:pt x="481" y="687"/>
                    <a:pt x="472" y="679"/>
                    <a:pt x="472" y="679"/>
                  </a:cubicBezTo>
                  <a:cubicBezTo>
                    <a:pt x="461" y="682"/>
                    <a:pt x="461" y="682"/>
                    <a:pt x="461" y="682"/>
                  </a:cubicBezTo>
                  <a:cubicBezTo>
                    <a:pt x="462" y="690"/>
                    <a:pt x="462" y="690"/>
                    <a:pt x="462" y="690"/>
                  </a:cubicBezTo>
                  <a:cubicBezTo>
                    <a:pt x="459" y="697"/>
                    <a:pt x="459" y="697"/>
                    <a:pt x="459" y="697"/>
                  </a:cubicBezTo>
                  <a:cubicBezTo>
                    <a:pt x="459" y="697"/>
                    <a:pt x="467" y="699"/>
                    <a:pt x="472" y="704"/>
                  </a:cubicBezTo>
                  <a:cubicBezTo>
                    <a:pt x="479" y="709"/>
                    <a:pt x="477" y="715"/>
                    <a:pt x="477" y="715"/>
                  </a:cubicBezTo>
                  <a:cubicBezTo>
                    <a:pt x="477" y="715"/>
                    <a:pt x="479" y="716"/>
                    <a:pt x="481" y="720"/>
                  </a:cubicBezTo>
                  <a:cubicBezTo>
                    <a:pt x="484" y="724"/>
                    <a:pt x="485" y="736"/>
                    <a:pt x="485" y="736"/>
                  </a:cubicBezTo>
                  <a:cubicBezTo>
                    <a:pt x="489" y="739"/>
                    <a:pt x="489" y="739"/>
                    <a:pt x="489" y="739"/>
                  </a:cubicBezTo>
                  <a:cubicBezTo>
                    <a:pt x="493" y="739"/>
                    <a:pt x="500" y="740"/>
                    <a:pt x="503" y="737"/>
                  </a:cubicBezTo>
                  <a:cubicBezTo>
                    <a:pt x="508" y="734"/>
                    <a:pt x="507" y="719"/>
                    <a:pt x="507" y="719"/>
                  </a:cubicBezTo>
                  <a:cubicBezTo>
                    <a:pt x="526" y="719"/>
                    <a:pt x="526" y="719"/>
                    <a:pt x="526" y="719"/>
                  </a:cubicBezTo>
                  <a:cubicBezTo>
                    <a:pt x="529" y="719"/>
                    <a:pt x="529" y="719"/>
                    <a:pt x="529" y="719"/>
                  </a:cubicBezTo>
                  <a:cubicBezTo>
                    <a:pt x="533" y="718"/>
                    <a:pt x="539" y="706"/>
                    <a:pt x="539" y="706"/>
                  </a:cubicBezTo>
                  <a:cubicBezTo>
                    <a:pt x="552" y="706"/>
                    <a:pt x="552" y="706"/>
                    <a:pt x="552" y="706"/>
                  </a:cubicBezTo>
                  <a:cubicBezTo>
                    <a:pt x="552" y="706"/>
                    <a:pt x="552" y="700"/>
                    <a:pt x="560" y="699"/>
                  </a:cubicBezTo>
                  <a:cubicBezTo>
                    <a:pt x="568" y="699"/>
                    <a:pt x="567" y="705"/>
                    <a:pt x="567" y="705"/>
                  </a:cubicBezTo>
                  <a:cubicBezTo>
                    <a:pt x="576" y="706"/>
                    <a:pt x="576" y="706"/>
                    <a:pt x="576" y="706"/>
                  </a:cubicBezTo>
                  <a:cubicBezTo>
                    <a:pt x="576" y="706"/>
                    <a:pt x="576" y="713"/>
                    <a:pt x="580" y="719"/>
                  </a:cubicBezTo>
                  <a:cubicBezTo>
                    <a:pt x="584" y="724"/>
                    <a:pt x="596" y="725"/>
                    <a:pt x="599" y="729"/>
                  </a:cubicBezTo>
                  <a:cubicBezTo>
                    <a:pt x="602" y="735"/>
                    <a:pt x="584" y="739"/>
                    <a:pt x="584" y="739"/>
                  </a:cubicBezTo>
                  <a:cubicBezTo>
                    <a:pt x="584" y="739"/>
                    <a:pt x="587" y="740"/>
                    <a:pt x="592" y="744"/>
                  </a:cubicBezTo>
                  <a:cubicBezTo>
                    <a:pt x="597" y="747"/>
                    <a:pt x="595" y="755"/>
                    <a:pt x="595" y="755"/>
                  </a:cubicBezTo>
                  <a:cubicBezTo>
                    <a:pt x="600" y="755"/>
                    <a:pt x="600" y="755"/>
                    <a:pt x="600" y="755"/>
                  </a:cubicBezTo>
                  <a:cubicBezTo>
                    <a:pt x="599" y="762"/>
                    <a:pt x="599" y="762"/>
                    <a:pt x="599" y="762"/>
                  </a:cubicBezTo>
                  <a:cubicBezTo>
                    <a:pt x="613" y="759"/>
                    <a:pt x="613" y="759"/>
                    <a:pt x="613" y="759"/>
                  </a:cubicBezTo>
                  <a:cubicBezTo>
                    <a:pt x="619" y="763"/>
                    <a:pt x="619" y="763"/>
                    <a:pt x="619" y="763"/>
                  </a:cubicBezTo>
                  <a:cubicBezTo>
                    <a:pt x="619" y="763"/>
                    <a:pt x="629" y="753"/>
                    <a:pt x="634" y="753"/>
                  </a:cubicBezTo>
                  <a:cubicBezTo>
                    <a:pt x="639" y="753"/>
                    <a:pt x="639" y="762"/>
                    <a:pt x="639" y="762"/>
                  </a:cubicBezTo>
                  <a:cubicBezTo>
                    <a:pt x="645" y="758"/>
                    <a:pt x="645" y="758"/>
                    <a:pt x="645" y="758"/>
                  </a:cubicBezTo>
                  <a:cubicBezTo>
                    <a:pt x="645" y="758"/>
                    <a:pt x="649" y="759"/>
                    <a:pt x="650" y="759"/>
                  </a:cubicBezTo>
                  <a:cubicBezTo>
                    <a:pt x="651" y="759"/>
                    <a:pt x="648" y="767"/>
                    <a:pt x="648" y="767"/>
                  </a:cubicBezTo>
                  <a:cubicBezTo>
                    <a:pt x="661" y="783"/>
                    <a:pt x="661" y="783"/>
                    <a:pt x="661" y="783"/>
                  </a:cubicBezTo>
                  <a:cubicBezTo>
                    <a:pt x="659" y="788"/>
                    <a:pt x="659" y="788"/>
                    <a:pt x="659" y="788"/>
                  </a:cubicBezTo>
                  <a:cubicBezTo>
                    <a:pt x="659" y="788"/>
                    <a:pt x="675" y="800"/>
                    <a:pt x="680" y="795"/>
                  </a:cubicBezTo>
                  <a:cubicBezTo>
                    <a:pt x="686" y="791"/>
                    <a:pt x="687" y="789"/>
                    <a:pt x="693" y="788"/>
                  </a:cubicBezTo>
                  <a:cubicBezTo>
                    <a:pt x="698" y="787"/>
                    <a:pt x="698" y="794"/>
                    <a:pt x="701" y="794"/>
                  </a:cubicBezTo>
                  <a:cubicBezTo>
                    <a:pt x="704" y="794"/>
                    <a:pt x="704" y="790"/>
                    <a:pt x="704" y="790"/>
                  </a:cubicBezTo>
                  <a:cubicBezTo>
                    <a:pt x="711" y="790"/>
                    <a:pt x="711" y="790"/>
                    <a:pt x="711" y="790"/>
                  </a:cubicBezTo>
                  <a:cubicBezTo>
                    <a:pt x="712" y="795"/>
                    <a:pt x="712" y="795"/>
                    <a:pt x="712" y="795"/>
                  </a:cubicBezTo>
                  <a:cubicBezTo>
                    <a:pt x="717" y="797"/>
                    <a:pt x="717" y="797"/>
                    <a:pt x="717" y="797"/>
                  </a:cubicBezTo>
                  <a:cubicBezTo>
                    <a:pt x="717" y="797"/>
                    <a:pt x="720" y="790"/>
                    <a:pt x="721" y="786"/>
                  </a:cubicBezTo>
                  <a:cubicBezTo>
                    <a:pt x="723" y="783"/>
                    <a:pt x="734" y="779"/>
                    <a:pt x="734" y="779"/>
                  </a:cubicBezTo>
                  <a:cubicBezTo>
                    <a:pt x="744" y="768"/>
                    <a:pt x="744" y="768"/>
                    <a:pt x="744" y="768"/>
                  </a:cubicBezTo>
                  <a:cubicBezTo>
                    <a:pt x="748" y="773"/>
                    <a:pt x="748" y="773"/>
                    <a:pt x="748" y="773"/>
                  </a:cubicBezTo>
                  <a:cubicBezTo>
                    <a:pt x="753" y="774"/>
                    <a:pt x="753" y="774"/>
                    <a:pt x="753" y="774"/>
                  </a:cubicBezTo>
                  <a:cubicBezTo>
                    <a:pt x="754" y="778"/>
                    <a:pt x="754" y="778"/>
                    <a:pt x="754" y="778"/>
                  </a:cubicBezTo>
                  <a:cubicBezTo>
                    <a:pt x="764" y="788"/>
                    <a:pt x="764" y="788"/>
                    <a:pt x="764" y="788"/>
                  </a:cubicBezTo>
                  <a:cubicBezTo>
                    <a:pt x="774" y="788"/>
                    <a:pt x="774" y="788"/>
                    <a:pt x="774" y="788"/>
                  </a:cubicBezTo>
                  <a:cubicBezTo>
                    <a:pt x="779" y="791"/>
                    <a:pt x="779" y="791"/>
                    <a:pt x="779" y="791"/>
                  </a:cubicBezTo>
                  <a:cubicBezTo>
                    <a:pt x="782" y="788"/>
                    <a:pt x="782" y="788"/>
                    <a:pt x="782" y="788"/>
                  </a:cubicBezTo>
                  <a:cubicBezTo>
                    <a:pt x="782" y="778"/>
                    <a:pt x="782" y="778"/>
                    <a:pt x="782" y="778"/>
                  </a:cubicBezTo>
                  <a:cubicBezTo>
                    <a:pt x="797" y="783"/>
                    <a:pt x="797" y="783"/>
                    <a:pt x="797" y="783"/>
                  </a:cubicBezTo>
                  <a:cubicBezTo>
                    <a:pt x="801" y="777"/>
                    <a:pt x="801" y="777"/>
                    <a:pt x="801" y="777"/>
                  </a:cubicBezTo>
                  <a:cubicBezTo>
                    <a:pt x="811" y="783"/>
                    <a:pt x="811" y="783"/>
                    <a:pt x="811" y="783"/>
                  </a:cubicBezTo>
                  <a:cubicBezTo>
                    <a:pt x="819" y="783"/>
                    <a:pt x="819" y="783"/>
                    <a:pt x="819" y="783"/>
                  </a:cubicBezTo>
                  <a:cubicBezTo>
                    <a:pt x="821" y="775"/>
                    <a:pt x="821" y="775"/>
                    <a:pt x="821" y="775"/>
                  </a:cubicBezTo>
                  <a:cubicBezTo>
                    <a:pt x="826" y="774"/>
                    <a:pt x="826" y="774"/>
                    <a:pt x="826" y="774"/>
                  </a:cubicBezTo>
                  <a:cubicBezTo>
                    <a:pt x="826" y="774"/>
                    <a:pt x="829" y="778"/>
                    <a:pt x="830" y="781"/>
                  </a:cubicBezTo>
                  <a:cubicBezTo>
                    <a:pt x="831" y="783"/>
                    <a:pt x="836" y="782"/>
                    <a:pt x="836" y="782"/>
                  </a:cubicBezTo>
                  <a:cubicBezTo>
                    <a:pt x="838" y="778"/>
                    <a:pt x="838" y="778"/>
                    <a:pt x="838" y="778"/>
                  </a:cubicBezTo>
                  <a:cubicBezTo>
                    <a:pt x="845" y="778"/>
                    <a:pt x="845" y="778"/>
                    <a:pt x="845" y="778"/>
                  </a:cubicBezTo>
                  <a:cubicBezTo>
                    <a:pt x="845" y="778"/>
                    <a:pt x="847" y="782"/>
                    <a:pt x="851" y="784"/>
                  </a:cubicBezTo>
                  <a:cubicBezTo>
                    <a:pt x="856" y="786"/>
                    <a:pt x="862" y="784"/>
                    <a:pt x="862" y="784"/>
                  </a:cubicBezTo>
                  <a:cubicBezTo>
                    <a:pt x="864" y="777"/>
                    <a:pt x="864" y="777"/>
                    <a:pt x="864" y="777"/>
                  </a:cubicBezTo>
                  <a:cubicBezTo>
                    <a:pt x="870" y="777"/>
                    <a:pt x="870" y="777"/>
                    <a:pt x="870" y="777"/>
                  </a:cubicBezTo>
                  <a:cubicBezTo>
                    <a:pt x="870" y="788"/>
                    <a:pt x="870" y="788"/>
                    <a:pt x="870" y="788"/>
                  </a:cubicBezTo>
                  <a:cubicBezTo>
                    <a:pt x="870" y="788"/>
                    <a:pt x="876" y="791"/>
                    <a:pt x="879" y="800"/>
                  </a:cubicBezTo>
                  <a:cubicBezTo>
                    <a:pt x="881" y="808"/>
                    <a:pt x="868" y="818"/>
                    <a:pt x="868" y="818"/>
                  </a:cubicBezTo>
                  <a:cubicBezTo>
                    <a:pt x="868" y="824"/>
                    <a:pt x="868" y="824"/>
                    <a:pt x="868" y="824"/>
                  </a:cubicBezTo>
                  <a:cubicBezTo>
                    <a:pt x="885" y="823"/>
                    <a:pt x="885" y="823"/>
                    <a:pt x="885" y="823"/>
                  </a:cubicBezTo>
                  <a:cubicBezTo>
                    <a:pt x="885" y="828"/>
                    <a:pt x="885" y="828"/>
                    <a:pt x="885" y="828"/>
                  </a:cubicBezTo>
                  <a:cubicBezTo>
                    <a:pt x="876" y="831"/>
                    <a:pt x="876" y="831"/>
                    <a:pt x="876" y="831"/>
                  </a:cubicBezTo>
                  <a:cubicBezTo>
                    <a:pt x="876" y="846"/>
                    <a:pt x="876" y="846"/>
                    <a:pt x="876" y="846"/>
                  </a:cubicBezTo>
                  <a:cubicBezTo>
                    <a:pt x="876" y="846"/>
                    <a:pt x="882" y="845"/>
                    <a:pt x="889" y="849"/>
                  </a:cubicBezTo>
                  <a:cubicBezTo>
                    <a:pt x="896" y="853"/>
                    <a:pt x="892" y="861"/>
                    <a:pt x="892" y="861"/>
                  </a:cubicBezTo>
                  <a:cubicBezTo>
                    <a:pt x="897" y="862"/>
                    <a:pt x="897" y="862"/>
                    <a:pt x="897" y="862"/>
                  </a:cubicBezTo>
                  <a:cubicBezTo>
                    <a:pt x="898" y="876"/>
                    <a:pt x="898" y="876"/>
                    <a:pt x="898" y="876"/>
                  </a:cubicBezTo>
                  <a:cubicBezTo>
                    <a:pt x="895" y="879"/>
                    <a:pt x="895" y="879"/>
                    <a:pt x="895" y="879"/>
                  </a:cubicBezTo>
                  <a:cubicBezTo>
                    <a:pt x="895" y="879"/>
                    <a:pt x="900" y="883"/>
                    <a:pt x="900" y="889"/>
                  </a:cubicBezTo>
                  <a:cubicBezTo>
                    <a:pt x="901" y="896"/>
                    <a:pt x="874" y="899"/>
                    <a:pt x="866" y="901"/>
                  </a:cubicBezTo>
                  <a:cubicBezTo>
                    <a:pt x="859" y="904"/>
                    <a:pt x="860" y="909"/>
                    <a:pt x="861" y="913"/>
                  </a:cubicBezTo>
                  <a:cubicBezTo>
                    <a:pt x="861" y="916"/>
                    <a:pt x="856" y="919"/>
                    <a:pt x="849" y="923"/>
                  </a:cubicBezTo>
                  <a:cubicBezTo>
                    <a:pt x="843" y="926"/>
                    <a:pt x="843" y="939"/>
                    <a:pt x="847" y="945"/>
                  </a:cubicBezTo>
                  <a:cubicBezTo>
                    <a:pt x="850" y="950"/>
                    <a:pt x="852" y="955"/>
                    <a:pt x="852" y="958"/>
                  </a:cubicBezTo>
                  <a:cubicBezTo>
                    <a:pt x="870" y="954"/>
                    <a:pt x="870" y="954"/>
                    <a:pt x="870" y="954"/>
                  </a:cubicBezTo>
                  <a:cubicBezTo>
                    <a:pt x="870" y="945"/>
                    <a:pt x="870" y="945"/>
                    <a:pt x="870" y="945"/>
                  </a:cubicBezTo>
                  <a:cubicBezTo>
                    <a:pt x="881" y="945"/>
                    <a:pt x="881" y="945"/>
                    <a:pt x="881" y="945"/>
                  </a:cubicBezTo>
                  <a:cubicBezTo>
                    <a:pt x="880" y="940"/>
                    <a:pt x="880" y="940"/>
                    <a:pt x="880" y="940"/>
                  </a:cubicBezTo>
                  <a:cubicBezTo>
                    <a:pt x="884" y="934"/>
                    <a:pt x="884" y="934"/>
                    <a:pt x="884" y="934"/>
                  </a:cubicBezTo>
                  <a:cubicBezTo>
                    <a:pt x="894" y="934"/>
                    <a:pt x="894" y="934"/>
                    <a:pt x="894" y="934"/>
                  </a:cubicBezTo>
                  <a:cubicBezTo>
                    <a:pt x="893" y="940"/>
                    <a:pt x="893" y="940"/>
                    <a:pt x="893" y="940"/>
                  </a:cubicBezTo>
                  <a:cubicBezTo>
                    <a:pt x="900" y="949"/>
                    <a:pt x="900" y="949"/>
                    <a:pt x="900" y="949"/>
                  </a:cubicBezTo>
                  <a:cubicBezTo>
                    <a:pt x="891" y="948"/>
                    <a:pt x="891" y="948"/>
                    <a:pt x="891" y="948"/>
                  </a:cubicBezTo>
                  <a:cubicBezTo>
                    <a:pt x="891" y="948"/>
                    <a:pt x="887" y="955"/>
                    <a:pt x="883" y="964"/>
                  </a:cubicBezTo>
                  <a:cubicBezTo>
                    <a:pt x="880" y="974"/>
                    <a:pt x="871" y="971"/>
                    <a:pt x="871" y="971"/>
                  </a:cubicBezTo>
                  <a:cubicBezTo>
                    <a:pt x="870" y="978"/>
                    <a:pt x="870" y="978"/>
                    <a:pt x="870" y="978"/>
                  </a:cubicBezTo>
                  <a:cubicBezTo>
                    <a:pt x="878" y="977"/>
                    <a:pt x="878" y="977"/>
                    <a:pt x="878" y="977"/>
                  </a:cubicBezTo>
                  <a:cubicBezTo>
                    <a:pt x="876" y="983"/>
                    <a:pt x="876" y="983"/>
                    <a:pt x="876" y="983"/>
                  </a:cubicBezTo>
                  <a:cubicBezTo>
                    <a:pt x="866" y="983"/>
                    <a:pt x="866" y="983"/>
                    <a:pt x="866" y="983"/>
                  </a:cubicBezTo>
                  <a:cubicBezTo>
                    <a:pt x="858" y="992"/>
                    <a:pt x="858" y="992"/>
                    <a:pt x="858" y="992"/>
                  </a:cubicBezTo>
                  <a:cubicBezTo>
                    <a:pt x="843" y="992"/>
                    <a:pt x="843" y="992"/>
                    <a:pt x="843" y="992"/>
                  </a:cubicBezTo>
                  <a:cubicBezTo>
                    <a:pt x="855" y="1009"/>
                    <a:pt x="855" y="1009"/>
                    <a:pt x="855" y="1009"/>
                  </a:cubicBezTo>
                  <a:cubicBezTo>
                    <a:pt x="855" y="1009"/>
                    <a:pt x="862" y="1005"/>
                    <a:pt x="867" y="1005"/>
                  </a:cubicBezTo>
                  <a:cubicBezTo>
                    <a:pt x="874" y="1005"/>
                    <a:pt x="876" y="1014"/>
                    <a:pt x="876" y="1014"/>
                  </a:cubicBezTo>
                  <a:cubicBezTo>
                    <a:pt x="876" y="1014"/>
                    <a:pt x="893" y="1012"/>
                    <a:pt x="894" y="1020"/>
                  </a:cubicBezTo>
                  <a:cubicBezTo>
                    <a:pt x="895" y="1026"/>
                    <a:pt x="880" y="1019"/>
                    <a:pt x="880" y="1019"/>
                  </a:cubicBezTo>
                  <a:cubicBezTo>
                    <a:pt x="877" y="1033"/>
                    <a:pt x="877" y="1033"/>
                    <a:pt x="877" y="1033"/>
                  </a:cubicBezTo>
                  <a:cubicBezTo>
                    <a:pt x="873" y="1025"/>
                    <a:pt x="873" y="1025"/>
                    <a:pt x="873" y="1025"/>
                  </a:cubicBezTo>
                  <a:cubicBezTo>
                    <a:pt x="867" y="1028"/>
                    <a:pt x="867" y="1028"/>
                    <a:pt x="867" y="1028"/>
                  </a:cubicBezTo>
                  <a:cubicBezTo>
                    <a:pt x="867" y="1028"/>
                    <a:pt x="871" y="1044"/>
                    <a:pt x="871" y="1049"/>
                  </a:cubicBezTo>
                  <a:cubicBezTo>
                    <a:pt x="871" y="1053"/>
                    <a:pt x="865" y="1053"/>
                    <a:pt x="862" y="1057"/>
                  </a:cubicBezTo>
                  <a:cubicBezTo>
                    <a:pt x="859" y="1060"/>
                    <a:pt x="868" y="1068"/>
                    <a:pt x="866" y="1073"/>
                  </a:cubicBezTo>
                  <a:cubicBezTo>
                    <a:pt x="864" y="1080"/>
                    <a:pt x="859" y="1091"/>
                    <a:pt x="852" y="1092"/>
                  </a:cubicBezTo>
                  <a:cubicBezTo>
                    <a:pt x="846" y="1092"/>
                    <a:pt x="844" y="1084"/>
                    <a:pt x="844" y="1084"/>
                  </a:cubicBezTo>
                  <a:cubicBezTo>
                    <a:pt x="830" y="1085"/>
                    <a:pt x="830" y="1085"/>
                    <a:pt x="830" y="1085"/>
                  </a:cubicBezTo>
                  <a:cubicBezTo>
                    <a:pt x="831" y="1090"/>
                    <a:pt x="831" y="1090"/>
                    <a:pt x="831" y="1090"/>
                  </a:cubicBezTo>
                  <a:cubicBezTo>
                    <a:pt x="831" y="1090"/>
                    <a:pt x="841" y="1091"/>
                    <a:pt x="842" y="1093"/>
                  </a:cubicBezTo>
                  <a:cubicBezTo>
                    <a:pt x="842" y="1096"/>
                    <a:pt x="830" y="1103"/>
                    <a:pt x="830" y="1103"/>
                  </a:cubicBezTo>
                  <a:cubicBezTo>
                    <a:pt x="833" y="1108"/>
                    <a:pt x="833" y="1108"/>
                    <a:pt x="833" y="1108"/>
                  </a:cubicBezTo>
                  <a:cubicBezTo>
                    <a:pt x="847" y="1103"/>
                    <a:pt x="847" y="1103"/>
                    <a:pt x="847" y="1103"/>
                  </a:cubicBezTo>
                  <a:cubicBezTo>
                    <a:pt x="847" y="1103"/>
                    <a:pt x="841" y="1098"/>
                    <a:pt x="851" y="1097"/>
                  </a:cubicBezTo>
                  <a:cubicBezTo>
                    <a:pt x="862" y="1097"/>
                    <a:pt x="852" y="1104"/>
                    <a:pt x="852" y="1104"/>
                  </a:cubicBezTo>
                  <a:cubicBezTo>
                    <a:pt x="865" y="1107"/>
                    <a:pt x="865" y="1107"/>
                    <a:pt x="865" y="1107"/>
                  </a:cubicBezTo>
                  <a:cubicBezTo>
                    <a:pt x="873" y="1120"/>
                    <a:pt x="873" y="1120"/>
                    <a:pt x="873" y="1120"/>
                  </a:cubicBezTo>
                  <a:cubicBezTo>
                    <a:pt x="894" y="1118"/>
                    <a:pt x="894" y="1118"/>
                    <a:pt x="894" y="1118"/>
                  </a:cubicBezTo>
                  <a:cubicBezTo>
                    <a:pt x="895" y="1112"/>
                    <a:pt x="895" y="1112"/>
                    <a:pt x="895" y="1112"/>
                  </a:cubicBezTo>
                  <a:cubicBezTo>
                    <a:pt x="903" y="1118"/>
                    <a:pt x="903" y="1118"/>
                    <a:pt x="903" y="1118"/>
                  </a:cubicBezTo>
                  <a:cubicBezTo>
                    <a:pt x="908" y="1118"/>
                    <a:pt x="908" y="1118"/>
                    <a:pt x="908" y="1118"/>
                  </a:cubicBezTo>
                  <a:cubicBezTo>
                    <a:pt x="911" y="1123"/>
                    <a:pt x="911" y="1123"/>
                    <a:pt x="911" y="1123"/>
                  </a:cubicBezTo>
                  <a:cubicBezTo>
                    <a:pt x="917" y="1122"/>
                    <a:pt x="917" y="1122"/>
                    <a:pt x="917" y="1122"/>
                  </a:cubicBezTo>
                  <a:cubicBezTo>
                    <a:pt x="926" y="1125"/>
                    <a:pt x="926" y="1125"/>
                    <a:pt x="926" y="1125"/>
                  </a:cubicBezTo>
                  <a:cubicBezTo>
                    <a:pt x="929" y="1122"/>
                    <a:pt x="929" y="1122"/>
                    <a:pt x="929" y="1122"/>
                  </a:cubicBezTo>
                  <a:cubicBezTo>
                    <a:pt x="943" y="1121"/>
                    <a:pt x="943" y="1121"/>
                    <a:pt x="943" y="1121"/>
                  </a:cubicBezTo>
                  <a:cubicBezTo>
                    <a:pt x="949" y="1128"/>
                    <a:pt x="949" y="1128"/>
                    <a:pt x="949" y="1128"/>
                  </a:cubicBezTo>
                  <a:cubicBezTo>
                    <a:pt x="949" y="1128"/>
                    <a:pt x="970" y="1130"/>
                    <a:pt x="976" y="1133"/>
                  </a:cubicBezTo>
                  <a:cubicBezTo>
                    <a:pt x="982" y="1136"/>
                    <a:pt x="998" y="1147"/>
                    <a:pt x="998" y="1147"/>
                  </a:cubicBezTo>
                  <a:cubicBezTo>
                    <a:pt x="1003" y="1146"/>
                    <a:pt x="1003" y="1146"/>
                    <a:pt x="1003" y="1146"/>
                  </a:cubicBezTo>
                  <a:cubicBezTo>
                    <a:pt x="1007" y="1150"/>
                    <a:pt x="1007" y="1150"/>
                    <a:pt x="1007" y="1150"/>
                  </a:cubicBezTo>
                  <a:cubicBezTo>
                    <a:pt x="1016" y="1151"/>
                    <a:pt x="1016" y="1151"/>
                    <a:pt x="1016" y="1151"/>
                  </a:cubicBezTo>
                  <a:cubicBezTo>
                    <a:pt x="1019" y="1155"/>
                    <a:pt x="1019" y="1155"/>
                    <a:pt x="1019" y="1155"/>
                  </a:cubicBezTo>
                  <a:cubicBezTo>
                    <a:pt x="1024" y="1154"/>
                    <a:pt x="1024" y="1154"/>
                    <a:pt x="1024" y="1154"/>
                  </a:cubicBezTo>
                  <a:cubicBezTo>
                    <a:pt x="1024" y="1154"/>
                    <a:pt x="1024" y="1144"/>
                    <a:pt x="1028" y="1139"/>
                  </a:cubicBezTo>
                  <a:cubicBezTo>
                    <a:pt x="1031" y="1135"/>
                    <a:pt x="1047" y="1137"/>
                    <a:pt x="1047" y="1137"/>
                  </a:cubicBezTo>
                  <a:cubicBezTo>
                    <a:pt x="1050" y="1132"/>
                    <a:pt x="1050" y="1132"/>
                    <a:pt x="1050" y="1132"/>
                  </a:cubicBezTo>
                  <a:cubicBezTo>
                    <a:pt x="1072" y="1135"/>
                    <a:pt x="1072" y="1135"/>
                    <a:pt x="1072" y="1135"/>
                  </a:cubicBezTo>
                  <a:cubicBezTo>
                    <a:pt x="1073" y="1134"/>
                    <a:pt x="1073" y="1134"/>
                    <a:pt x="1073" y="1134"/>
                  </a:cubicBezTo>
                  <a:cubicBezTo>
                    <a:pt x="1080" y="1134"/>
                    <a:pt x="1080" y="1134"/>
                    <a:pt x="1080" y="1134"/>
                  </a:cubicBezTo>
                  <a:cubicBezTo>
                    <a:pt x="1085" y="1130"/>
                    <a:pt x="1085" y="1130"/>
                    <a:pt x="1085" y="1130"/>
                  </a:cubicBezTo>
                  <a:cubicBezTo>
                    <a:pt x="1085" y="1130"/>
                    <a:pt x="1095" y="1136"/>
                    <a:pt x="1107" y="1133"/>
                  </a:cubicBezTo>
                  <a:cubicBezTo>
                    <a:pt x="1120" y="1131"/>
                    <a:pt x="1137" y="1117"/>
                    <a:pt x="1137" y="1117"/>
                  </a:cubicBezTo>
                  <a:cubicBezTo>
                    <a:pt x="1143" y="1118"/>
                    <a:pt x="1143" y="1118"/>
                    <a:pt x="1143" y="1118"/>
                  </a:cubicBezTo>
                  <a:cubicBezTo>
                    <a:pt x="1143" y="1118"/>
                    <a:pt x="1146" y="1113"/>
                    <a:pt x="1154" y="1113"/>
                  </a:cubicBezTo>
                  <a:cubicBezTo>
                    <a:pt x="1161" y="1112"/>
                    <a:pt x="1162" y="1117"/>
                    <a:pt x="1169" y="1119"/>
                  </a:cubicBezTo>
                  <a:cubicBezTo>
                    <a:pt x="1175" y="1122"/>
                    <a:pt x="1192" y="1117"/>
                    <a:pt x="1192" y="1117"/>
                  </a:cubicBezTo>
                  <a:cubicBezTo>
                    <a:pt x="1210" y="1117"/>
                    <a:pt x="1210" y="1117"/>
                    <a:pt x="1210" y="1117"/>
                  </a:cubicBezTo>
                  <a:cubicBezTo>
                    <a:pt x="1208" y="1123"/>
                    <a:pt x="1208" y="1123"/>
                    <a:pt x="1208" y="1123"/>
                  </a:cubicBezTo>
                  <a:cubicBezTo>
                    <a:pt x="1208" y="1123"/>
                    <a:pt x="1215" y="1125"/>
                    <a:pt x="1221" y="1124"/>
                  </a:cubicBezTo>
                  <a:cubicBezTo>
                    <a:pt x="1227" y="1124"/>
                    <a:pt x="1233" y="1115"/>
                    <a:pt x="1233" y="1115"/>
                  </a:cubicBezTo>
                  <a:cubicBezTo>
                    <a:pt x="1233" y="1108"/>
                    <a:pt x="1233" y="1108"/>
                    <a:pt x="1233" y="1108"/>
                  </a:cubicBezTo>
                  <a:cubicBezTo>
                    <a:pt x="1233" y="1108"/>
                    <a:pt x="1239" y="1103"/>
                    <a:pt x="1243" y="1100"/>
                  </a:cubicBezTo>
                  <a:cubicBezTo>
                    <a:pt x="1248" y="1098"/>
                    <a:pt x="1259" y="1103"/>
                    <a:pt x="1259" y="1103"/>
                  </a:cubicBezTo>
                  <a:cubicBezTo>
                    <a:pt x="1259" y="1093"/>
                    <a:pt x="1259" y="1093"/>
                    <a:pt x="1259" y="1093"/>
                  </a:cubicBezTo>
                  <a:cubicBezTo>
                    <a:pt x="1266" y="1094"/>
                    <a:pt x="1266" y="1094"/>
                    <a:pt x="1266" y="1094"/>
                  </a:cubicBezTo>
                  <a:cubicBezTo>
                    <a:pt x="1274" y="1090"/>
                    <a:pt x="1274" y="1090"/>
                    <a:pt x="1274" y="1090"/>
                  </a:cubicBezTo>
                  <a:cubicBezTo>
                    <a:pt x="1285" y="1097"/>
                    <a:pt x="1285" y="1097"/>
                    <a:pt x="1285" y="1097"/>
                  </a:cubicBezTo>
                  <a:cubicBezTo>
                    <a:pt x="1291" y="1091"/>
                    <a:pt x="1291" y="1091"/>
                    <a:pt x="1291" y="1091"/>
                  </a:cubicBezTo>
                  <a:cubicBezTo>
                    <a:pt x="1302" y="1088"/>
                    <a:pt x="1302" y="1088"/>
                    <a:pt x="1302" y="1088"/>
                  </a:cubicBezTo>
                  <a:cubicBezTo>
                    <a:pt x="1302" y="1088"/>
                    <a:pt x="1305" y="1105"/>
                    <a:pt x="1309" y="1109"/>
                  </a:cubicBezTo>
                  <a:cubicBezTo>
                    <a:pt x="1315" y="1113"/>
                    <a:pt x="1337" y="1108"/>
                    <a:pt x="1347" y="1108"/>
                  </a:cubicBezTo>
                  <a:cubicBezTo>
                    <a:pt x="1357" y="1107"/>
                    <a:pt x="1359" y="1109"/>
                    <a:pt x="1359" y="1109"/>
                  </a:cubicBezTo>
                  <a:cubicBezTo>
                    <a:pt x="1367" y="1105"/>
                    <a:pt x="1367" y="1105"/>
                    <a:pt x="1367" y="1105"/>
                  </a:cubicBezTo>
                  <a:cubicBezTo>
                    <a:pt x="1367" y="1105"/>
                    <a:pt x="1371" y="1106"/>
                    <a:pt x="1378" y="1106"/>
                  </a:cubicBezTo>
                  <a:cubicBezTo>
                    <a:pt x="1383" y="1106"/>
                    <a:pt x="1388" y="1115"/>
                    <a:pt x="1388" y="1115"/>
                  </a:cubicBezTo>
                  <a:cubicBezTo>
                    <a:pt x="1390" y="1112"/>
                    <a:pt x="1390" y="1112"/>
                    <a:pt x="1390" y="1112"/>
                  </a:cubicBezTo>
                  <a:cubicBezTo>
                    <a:pt x="1390" y="1112"/>
                    <a:pt x="1407" y="1123"/>
                    <a:pt x="1408" y="1123"/>
                  </a:cubicBezTo>
                  <a:cubicBezTo>
                    <a:pt x="1411" y="1123"/>
                    <a:pt x="1417" y="1121"/>
                    <a:pt x="1429" y="1120"/>
                  </a:cubicBezTo>
                  <a:cubicBezTo>
                    <a:pt x="1440" y="1119"/>
                    <a:pt x="1435" y="1108"/>
                    <a:pt x="1435" y="1108"/>
                  </a:cubicBezTo>
                  <a:cubicBezTo>
                    <a:pt x="1438" y="1102"/>
                    <a:pt x="1438" y="1102"/>
                    <a:pt x="1438" y="1102"/>
                  </a:cubicBezTo>
                  <a:cubicBezTo>
                    <a:pt x="1437" y="1091"/>
                    <a:pt x="1437" y="1091"/>
                    <a:pt x="1437" y="1091"/>
                  </a:cubicBezTo>
                  <a:cubicBezTo>
                    <a:pt x="1446" y="1078"/>
                    <a:pt x="1446" y="1078"/>
                    <a:pt x="1446" y="1078"/>
                  </a:cubicBezTo>
                  <a:cubicBezTo>
                    <a:pt x="1445" y="1060"/>
                    <a:pt x="1445" y="1060"/>
                    <a:pt x="1445" y="1060"/>
                  </a:cubicBezTo>
                  <a:cubicBezTo>
                    <a:pt x="1434" y="1060"/>
                    <a:pt x="1434" y="1060"/>
                    <a:pt x="1434" y="1060"/>
                  </a:cubicBezTo>
                  <a:cubicBezTo>
                    <a:pt x="1417" y="1047"/>
                    <a:pt x="1417" y="1047"/>
                    <a:pt x="1417" y="1047"/>
                  </a:cubicBezTo>
                  <a:cubicBezTo>
                    <a:pt x="1417" y="1047"/>
                    <a:pt x="1406" y="1046"/>
                    <a:pt x="1404" y="1045"/>
                  </a:cubicBezTo>
                  <a:cubicBezTo>
                    <a:pt x="1402" y="1045"/>
                    <a:pt x="1391" y="1038"/>
                    <a:pt x="1391" y="1038"/>
                  </a:cubicBezTo>
                  <a:cubicBezTo>
                    <a:pt x="1391" y="1038"/>
                    <a:pt x="1387" y="1038"/>
                    <a:pt x="1382" y="1036"/>
                  </a:cubicBezTo>
                  <a:cubicBezTo>
                    <a:pt x="1378" y="1035"/>
                    <a:pt x="1380" y="1033"/>
                    <a:pt x="1376" y="1026"/>
                  </a:cubicBezTo>
                  <a:cubicBezTo>
                    <a:pt x="1372" y="1020"/>
                    <a:pt x="1365" y="1024"/>
                    <a:pt x="1358" y="1018"/>
                  </a:cubicBezTo>
                  <a:cubicBezTo>
                    <a:pt x="1352" y="1012"/>
                    <a:pt x="1356" y="999"/>
                    <a:pt x="1356" y="999"/>
                  </a:cubicBezTo>
                  <a:cubicBezTo>
                    <a:pt x="1350" y="999"/>
                    <a:pt x="1350" y="999"/>
                    <a:pt x="1350" y="999"/>
                  </a:cubicBezTo>
                  <a:cubicBezTo>
                    <a:pt x="1341" y="977"/>
                    <a:pt x="1341" y="977"/>
                    <a:pt x="1341" y="977"/>
                  </a:cubicBezTo>
                  <a:cubicBezTo>
                    <a:pt x="1341" y="964"/>
                    <a:pt x="1341" y="964"/>
                    <a:pt x="1341" y="964"/>
                  </a:cubicBezTo>
                  <a:cubicBezTo>
                    <a:pt x="1343" y="961"/>
                    <a:pt x="1343" y="961"/>
                    <a:pt x="1343" y="961"/>
                  </a:cubicBezTo>
                  <a:cubicBezTo>
                    <a:pt x="1343" y="961"/>
                    <a:pt x="1342" y="959"/>
                    <a:pt x="1339" y="959"/>
                  </a:cubicBezTo>
                  <a:cubicBezTo>
                    <a:pt x="1335" y="960"/>
                    <a:pt x="1338" y="972"/>
                    <a:pt x="1338" y="972"/>
                  </a:cubicBezTo>
                  <a:cubicBezTo>
                    <a:pt x="1342" y="993"/>
                    <a:pt x="1342" y="993"/>
                    <a:pt x="1342" y="993"/>
                  </a:cubicBezTo>
                  <a:cubicBezTo>
                    <a:pt x="1339" y="992"/>
                    <a:pt x="1339" y="992"/>
                    <a:pt x="1339" y="992"/>
                  </a:cubicBezTo>
                  <a:cubicBezTo>
                    <a:pt x="1337" y="974"/>
                    <a:pt x="1337" y="974"/>
                    <a:pt x="1337" y="974"/>
                  </a:cubicBezTo>
                  <a:cubicBezTo>
                    <a:pt x="1333" y="973"/>
                    <a:pt x="1333" y="973"/>
                    <a:pt x="1333" y="973"/>
                  </a:cubicBezTo>
                  <a:cubicBezTo>
                    <a:pt x="1313" y="957"/>
                    <a:pt x="1313" y="957"/>
                    <a:pt x="1313" y="957"/>
                  </a:cubicBezTo>
                  <a:cubicBezTo>
                    <a:pt x="1313" y="957"/>
                    <a:pt x="1310" y="960"/>
                    <a:pt x="1308" y="960"/>
                  </a:cubicBezTo>
                  <a:cubicBezTo>
                    <a:pt x="1306" y="960"/>
                    <a:pt x="1304" y="955"/>
                    <a:pt x="1301" y="952"/>
                  </a:cubicBezTo>
                  <a:cubicBezTo>
                    <a:pt x="1297" y="950"/>
                    <a:pt x="1286" y="956"/>
                    <a:pt x="1286" y="956"/>
                  </a:cubicBezTo>
                  <a:cubicBezTo>
                    <a:pt x="1286" y="956"/>
                    <a:pt x="1277" y="946"/>
                    <a:pt x="1275" y="942"/>
                  </a:cubicBezTo>
                  <a:cubicBezTo>
                    <a:pt x="1273" y="936"/>
                    <a:pt x="1281" y="930"/>
                    <a:pt x="1285" y="924"/>
                  </a:cubicBezTo>
                  <a:cubicBezTo>
                    <a:pt x="1290" y="917"/>
                    <a:pt x="1287" y="902"/>
                    <a:pt x="1287" y="902"/>
                  </a:cubicBezTo>
                  <a:cubicBezTo>
                    <a:pt x="1283" y="899"/>
                    <a:pt x="1283" y="899"/>
                    <a:pt x="1283" y="899"/>
                  </a:cubicBezTo>
                  <a:cubicBezTo>
                    <a:pt x="1287" y="894"/>
                    <a:pt x="1287" y="894"/>
                    <a:pt x="1287" y="894"/>
                  </a:cubicBezTo>
                  <a:cubicBezTo>
                    <a:pt x="1284" y="893"/>
                    <a:pt x="1284" y="893"/>
                    <a:pt x="1284" y="893"/>
                  </a:cubicBezTo>
                  <a:cubicBezTo>
                    <a:pt x="1283" y="877"/>
                    <a:pt x="1283" y="877"/>
                    <a:pt x="1283" y="877"/>
                  </a:cubicBezTo>
                  <a:cubicBezTo>
                    <a:pt x="1286" y="870"/>
                    <a:pt x="1286" y="870"/>
                    <a:pt x="1286" y="870"/>
                  </a:cubicBezTo>
                  <a:cubicBezTo>
                    <a:pt x="1286" y="870"/>
                    <a:pt x="1280" y="865"/>
                    <a:pt x="1281" y="862"/>
                  </a:cubicBezTo>
                  <a:cubicBezTo>
                    <a:pt x="1282" y="858"/>
                    <a:pt x="1291" y="864"/>
                    <a:pt x="1296" y="865"/>
                  </a:cubicBezTo>
                  <a:cubicBezTo>
                    <a:pt x="1300" y="865"/>
                    <a:pt x="1299" y="862"/>
                    <a:pt x="1299" y="862"/>
                  </a:cubicBezTo>
                  <a:cubicBezTo>
                    <a:pt x="1299" y="862"/>
                    <a:pt x="1291" y="856"/>
                    <a:pt x="1293" y="853"/>
                  </a:cubicBezTo>
                  <a:cubicBezTo>
                    <a:pt x="1296" y="850"/>
                    <a:pt x="1306" y="844"/>
                    <a:pt x="1306" y="844"/>
                  </a:cubicBezTo>
                  <a:cubicBezTo>
                    <a:pt x="1313" y="846"/>
                    <a:pt x="1313" y="846"/>
                    <a:pt x="1313" y="846"/>
                  </a:cubicBezTo>
                  <a:cubicBezTo>
                    <a:pt x="1317" y="845"/>
                    <a:pt x="1317" y="845"/>
                    <a:pt x="1317" y="845"/>
                  </a:cubicBezTo>
                  <a:cubicBezTo>
                    <a:pt x="1305" y="836"/>
                    <a:pt x="1305" y="836"/>
                    <a:pt x="1305" y="836"/>
                  </a:cubicBezTo>
                  <a:cubicBezTo>
                    <a:pt x="1308" y="831"/>
                    <a:pt x="1308" y="831"/>
                    <a:pt x="1308" y="831"/>
                  </a:cubicBezTo>
                  <a:cubicBezTo>
                    <a:pt x="1322" y="838"/>
                    <a:pt x="1322" y="838"/>
                    <a:pt x="1322" y="838"/>
                  </a:cubicBezTo>
                  <a:cubicBezTo>
                    <a:pt x="1327" y="836"/>
                    <a:pt x="1327" y="836"/>
                    <a:pt x="1327" y="836"/>
                  </a:cubicBezTo>
                  <a:cubicBezTo>
                    <a:pt x="1320" y="832"/>
                    <a:pt x="1320" y="832"/>
                    <a:pt x="1320" y="832"/>
                  </a:cubicBezTo>
                  <a:cubicBezTo>
                    <a:pt x="1323" y="825"/>
                    <a:pt x="1323" y="825"/>
                    <a:pt x="1323" y="825"/>
                  </a:cubicBezTo>
                  <a:cubicBezTo>
                    <a:pt x="1313" y="820"/>
                    <a:pt x="1313" y="820"/>
                    <a:pt x="1313" y="820"/>
                  </a:cubicBezTo>
                  <a:cubicBezTo>
                    <a:pt x="1314" y="815"/>
                    <a:pt x="1314" y="815"/>
                    <a:pt x="1314" y="815"/>
                  </a:cubicBezTo>
                  <a:cubicBezTo>
                    <a:pt x="1322" y="817"/>
                    <a:pt x="1322" y="817"/>
                    <a:pt x="1322" y="817"/>
                  </a:cubicBezTo>
                  <a:cubicBezTo>
                    <a:pt x="1325" y="817"/>
                    <a:pt x="1325" y="817"/>
                    <a:pt x="1325" y="817"/>
                  </a:cubicBezTo>
                  <a:cubicBezTo>
                    <a:pt x="1318" y="812"/>
                    <a:pt x="1318" y="812"/>
                    <a:pt x="1318" y="812"/>
                  </a:cubicBezTo>
                  <a:cubicBezTo>
                    <a:pt x="1323" y="809"/>
                    <a:pt x="1323" y="809"/>
                    <a:pt x="1323" y="809"/>
                  </a:cubicBezTo>
                  <a:cubicBezTo>
                    <a:pt x="1331" y="813"/>
                    <a:pt x="1331" y="813"/>
                    <a:pt x="1331" y="813"/>
                  </a:cubicBezTo>
                  <a:cubicBezTo>
                    <a:pt x="1331" y="813"/>
                    <a:pt x="1331" y="806"/>
                    <a:pt x="1329" y="803"/>
                  </a:cubicBezTo>
                  <a:cubicBezTo>
                    <a:pt x="1326" y="800"/>
                    <a:pt x="1319" y="801"/>
                    <a:pt x="1320" y="797"/>
                  </a:cubicBezTo>
                  <a:cubicBezTo>
                    <a:pt x="1321" y="791"/>
                    <a:pt x="1332" y="792"/>
                    <a:pt x="1332" y="792"/>
                  </a:cubicBezTo>
                  <a:cubicBezTo>
                    <a:pt x="1324" y="788"/>
                    <a:pt x="1324" y="788"/>
                    <a:pt x="1324" y="788"/>
                  </a:cubicBezTo>
                  <a:cubicBezTo>
                    <a:pt x="1324" y="788"/>
                    <a:pt x="1301" y="792"/>
                    <a:pt x="1290" y="791"/>
                  </a:cubicBezTo>
                  <a:cubicBezTo>
                    <a:pt x="1281" y="790"/>
                    <a:pt x="1280" y="784"/>
                    <a:pt x="1284" y="777"/>
                  </a:cubicBezTo>
                  <a:cubicBezTo>
                    <a:pt x="1288" y="772"/>
                    <a:pt x="1298" y="778"/>
                    <a:pt x="1302" y="774"/>
                  </a:cubicBezTo>
                  <a:cubicBezTo>
                    <a:pt x="1307" y="769"/>
                    <a:pt x="1288" y="762"/>
                    <a:pt x="1281" y="760"/>
                  </a:cubicBezTo>
                  <a:cubicBezTo>
                    <a:pt x="1273" y="758"/>
                    <a:pt x="1268" y="747"/>
                    <a:pt x="1263" y="744"/>
                  </a:cubicBezTo>
                  <a:cubicBezTo>
                    <a:pt x="1257" y="742"/>
                    <a:pt x="1256" y="746"/>
                    <a:pt x="1249" y="746"/>
                  </a:cubicBezTo>
                  <a:cubicBezTo>
                    <a:pt x="1242" y="746"/>
                    <a:pt x="1241" y="735"/>
                    <a:pt x="1232" y="732"/>
                  </a:cubicBezTo>
                  <a:cubicBezTo>
                    <a:pt x="1222" y="729"/>
                    <a:pt x="1225" y="741"/>
                    <a:pt x="1218" y="743"/>
                  </a:cubicBezTo>
                  <a:cubicBezTo>
                    <a:pt x="1211" y="745"/>
                    <a:pt x="1206" y="744"/>
                    <a:pt x="1206" y="744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10" y="752"/>
                    <a:pt x="1198" y="752"/>
                    <a:pt x="1192" y="750"/>
                  </a:cubicBezTo>
                  <a:cubicBezTo>
                    <a:pt x="1187" y="749"/>
                    <a:pt x="1188" y="742"/>
                    <a:pt x="1189" y="740"/>
                  </a:cubicBezTo>
                  <a:cubicBezTo>
                    <a:pt x="1191" y="737"/>
                    <a:pt x="1186" y="735"/>
                    <a:pt x="1184" y="732"/>
                  </a:cubicBezTo>
                  <a:cubicBezTo>
                    <a:pt x="1181" y="730"/>
                    <a:pt x="1181" y="726"/>
                    <a:pt x="1181" y="726"/>
                  </a:cubicBezTo>
                  <a:cubicBezTo>
                    <a:pt x="1152" y="732"/>
                    <a:pt x="1152" y="732"/>
                    <a:pt x="1152" y="732"/>
                  </a:cubicBezTo>
                  <a:cubicBezTo>
                    <a:pt x="1146" y="693"/>
                    <a:pt x="1146" y="693"/>
                    <a:pt x="1146" y="693"/>
                  </a:cubicBezTo>
                  <a:cubicBezTo>
                    <a:pt x="1146" y="693"/>
                    <a:pt x="1152" y="683"/>
                    <a:pt x="1149" y="675"/>
                  </a:cubicBezTo>
                  <a:cubicBezTo>
                    <a:pt x="1146" y="666"/>
                    <a:pt x="1136" y="668"/>
                    <a:pt x="1136" y="668"/>
                  </a:cubicBezTo>
                  <a:cubicBezTo>
                    <a:pt x="1124" y="633"/>
                    <a:pt x="1124" y="633"/>
                    <a:pt x="1124" y="633"/>
                  </a:cubicBezTo>
                  <a:cubicBezTo>
                    <a:pt x="1133" y="618"/>
                    <a:pt x="1133" y="618"/>
                    <a:pt x="1133" y="618"/>
                  </a:cubicBezTo>
                  <a:cubicBezTo>
                    <a:pt x="1134" y="613"/>
                    <a:pt x="1125" y="612"/>
                    <a:pt x="1125" y="604"/>
                  </a:cubicBezTo>
                  <a:cubicBezTo>
                    <a:pt x="1124" y="597"/>
                    <a:pt x="1128" y="590"/>
                    <a:pt x="1138" y="590"/>
                  </a:cubicBezTo>
                  <a:cubicBezTo>
                    <a:pt x="1146" y="590"/>
                    <a:pt x="1158" y="599"/>
                    <a:pt x="1161" y="604"/>
                  </a:cubicBezTo>
                  <a:cubicBezTo>
                    <a:pt x="1165" y="611"/>
                    <a:pt x="1172" y="610"/>
                    <a:pt x="1178" y="610"/>
                  </a:cubicBezTo>
                  <a:cubicBezTo>
                    <a:pt x="1184" y="610"/>
                    <a:pt x="1190" y="596"/>
                    <a:pt x="1191" y="586"/>
                  </a:cubicBezTo>
                  <a:cubicBezTo>
                    <a:pt x="1192" y="577"/>
                    <a:pt x="1185" y="585"/>
                    <a:pt x="1185" y="585"/>
                  </a:cubicBezTo>
                  <a:cubicBezTo>
                    <a:pt x="1185" y="585"/>
                    <a:pt x="1182" y="580"/>
                    <a:pt x="1177" y="578"/>
                  </a:cubicBezTo>
                  <a:cubicBezTo>
                    <a:pt x="1173" y="574"/>
                    <a:pt x="1163" y="562"/>
                    <a:pt x="1163" y="562"/>
                  </a:cubicBezTo>
                  <a:cubicBezTo>
                    <a:pt x="1159" y="562"/>
                    <a:pt x="1159" y="562"/>
                    <a:pt x="1159" y="562"/>
                  </a:cubicBezTo>
                  <a:cubicBezTo>
                    <a:pt x="1160" y="558"/>
                    <a:pt x="1160" y="558"/>
                    <a:pt x="1160" y="558"/>
                  </a:cubicBezTo>
                  <a:cubicBezTo>
                    <a:pt x="1160" y="558"/>
                    <a:pt x="1165" y="556"/>
                    <a:pt x="1171" y="555"/>
                  </a:cubicBezTo>
                  <a:cubicBezTo>
                    <a:pt x="1177" y="554"/>
                    <a:pt x="1175" y="538"/>
                    <a:pt x="1175" y="538"/>
                  </a:cubicBezTo>
                  <a:cubicBezTo>
                    <a:pt x="1175" y="538"/>
                    <a:pt x="1182" y="533"/>
                    <a:pt x="1183" y="527"/>
                  </a:cubicBezTo>
                  <a:cubicBezTo>
                    <a:pt x="1185" y="523"/>
                    <a:pt x="1175" y="524"/>
                    <a:pt x="1175" y="524"/>
                  </a:cubicBezTo>
                  <a:cubicBezTo>
                    <a:pt x="1173" y="514"/>
                    <a:pt x="1173" y="514"/>
                    <a:pt x="1173" y="514"/>
                  </a:cubicBezTo>
                  <a:cubicBezTo>
                    <a:pt x="1183" y="508"/>
                    <a:pt x="1183" y="508"/>
                    <a:pt x="1183" y="508"/>
                  </a:cubicBezTo>
                  <a:cubicBezTo>
                    <a:pt x="1189" y="497"/>
                    <a:pt x="1189" y="497"/>
                    <a:pt x="1189" y="497"/>
                  </a:cubicBezTo>
                  <a:cubicBezTo>
                    <a:pt x="1189" y="497"/>
                    <a:pt x="1202" y="489"/>
                    <a:pt x="1202" y="486"/>
                  </a:cubicBezTo>
                  <a:cubicBezTo>
                    <a:pt x="1203" y="482"/>
                    <a:pt x="1196" y="483"/>
                    <a:pt x="1195" y="479"/>
                  </a:cubicBezTo>
                  <a:cubicBezTo>
                    <a:pt x="1194" y="477"/>
                    <a:pt x="1204" y="475"/>
                    <a:pt x="1204" y="472"/>
                  </a:cubicBezTo>
                  <a:cubicBezTo>
                    <a:pt x="1204" y="470"/>
                    <a:pt x="1199" y="463"/>
                    <a:pt x="1201" y="461"/>
                  </a:cubicBezTo>
                  <a:cubicBezTo>
                    <a:pt x="1203" y="459"/>
                    <a:pt x="1208" y="456"/>
                    <a:pt x="1208" y="456"/>
                  </a:cubicBezTo>
                  <a:cubicBezTo>
                    <a:pt x="1201" y="450"/>
                    <a:pt x="1201" y="450"/>
                    <a:pt x="1201" y="450"/>
                  </a:cubicBezTo>
                  <a:cubicBezTo>
                    <a:pt x="1212" y="450"/>
                    <a:pt x="1212" y="450"/>
                    <a:pt x="1212" y="450"/>
                  </a:cubicBezTo>
                  <a:cubicBezTo>
                    <a:pt x="1212" y="450"/>
                    <a:pt x="1223" y="443"/>
                    <a:pt x="1226" y="444"/>
                  </a:cubicBezTo>
                  <a:cubicBezTo>
                    <a:pt x="1229" y="445"/>
                    <a:pt x="1223" y="455"/>
                    <a:pt x="1228" y="456"/>
                  </a:cubicBezTo>
                  <a:cubicBezTo>
                    <a:pt x="1234" y="458"/>
                    <a:pt x="1235" y="445"/>
                    <a:pt x="1235" y="445"/>
                  </a:cubicBezTo>
                  <a:cubicBezTo>
                    <a:pt x="1235" y="445"/>
                    <a:pt x="1240" y="446"/>
                    <a:pt x="1243" y="444"/>
                  </a:cubicBezTo>
                  <a:cubicBezTo>
                    <a:pt x="1247" y="442"/>
                    <a:pt x="1238" y="436"/>
                    <a:pt x="1240" y="431"/>
                  </a:cubicBezTo>
                  <a:cubicBezTo>
                    <a:pt x="1242" y="427"/>
                    <a:pt x="1251" y="427"/>
                    <a:pt x="1251" y="427"/>
                  </a:cubicBezTo>
                  <a:cubicBezTo>
                    <a:pt x="1249" y="420"/>
                    <a:pt x="1249" y="420"/>
                    <a:pt x="1249" y="420"/>
                  </a:cubicBezTo>
                  <a:cubicBezTo>
                    <a:pt x="1253" y="418"/>
                    <a:pt x="1253" y="418"/>
                    <a:pt x="1253" y="418"/>
                  </a:cubicBezTo>
                  <a:cubicBezTo>
                    <a:pt x="1253" y="418"/>
                    <a:pt x="1269" y="428"/>
                    <a:pt x="1275" y="427"/>
                  </a:cubicBezTo>
                  <a:cubicBezTo>
                    <a:pt x="1281" y="427"/>
                    <a:pt x="1277" y="421"/>
                    <a:pt x="1277" y="421"/>
                  </a:cubicBezTo>
                  <a:cubicBezTo>
                    <a:pt x="1285" y="421"/>
                    <a:pt x="1285" y="421"/>
                    <a:pt x="1285" y="421"/>
                  </a:cubicBezTo>
                  <a:cubicBezTo>
                    <a:pt x="1285" y="421"/>
                    <a:pt x="1298" y="409"/>
                    <a:pt x="1306" y="408"/>
                  </a:cubicBezTo>
                  <a:cubicBezTo>
                    <a:pt x="1315" y="407"/>
                    <a:pt x="1313" y="415"/>
                    <a:pt x="1318" y="416"/>
                  </a:cubicBezTo>
                  <a:cubicBezTo>
                    <a:pt x="1322" y="418"/>
                    <a:pt x="1323" y="416"/>
                    <a:pt x="1326" y="412"/>
                  </a:cubicBezTo>
                  <a:cubicBezTo>
                    <a:pt x="1329" y="409"/>
                    <a:pt x="1334" y="410"/>
                    <a:pt x="1339" y="414"/>
                  </a:cubicBezTo>
                  <a:cubicBezTo>
                    <a:pt x="1345" y="419"/>
                    <a:pt x="1351" y="418"/>
                    <a:pt x="1356" y="418"/>
                  </a:cubicBezTo>
                  <a:cubicBezTo>
                    <a:pt x="1362" y="418"/>
                    <a:pt x="1363" y="419"/>
                    <a:pt x="1363" y="423"/>
                  </a:cubicBezTo>
                  <a:cubicBezTo>
                    <a:pt x="1363" y="426"/>
                    <a:pt x="1366" y="432"/>
                    <a:pt x="1370" y="435"/>
                  </a:cubicBezTo>
                  <a:cubicBezTo>
                    <a:pt x="1375" y="438"/>
                    <a:pt x="1376" y="430"/>
                    <a:pt x="1378" y="426"/>
                  </a:cubicBezTo>
                  <a:cubicBezTo>
                    <a:pt x="1379" y="422"/>
                    <a:pt x="1371" y="422"/>
                    <a:pt x="1369" y="418"/>
                  </a:cubicBezTo>
                  <a:cubicBezTo>
                    <a:pt x="1367" y="412"/>
                    <a:pt x="1362" y="413"/>
                    <a:pt x="1358" y="413"/>
                  </a:cubicBezTo>
                  <a:cubicBezTo>
                    <a:pt x="1356" y="412"/>
                    <a:pt x="1356" y="409"/>
                    <a:pt x="1358" y="405"/>
                  </a:cubicBezTo>
                  <a:cubicBezTo>
                    <a:pt x="1360" y="400"/>
                    <a:pt x="1372" y="405"/>
                    <a:pt x="1372" y="405"/>
                  </a:cubicBezTo>
                  <a:cubicBezTo>
                    <a:pt x="1372" y="405"/>
                    <a:pt x="1375" y="403"/>
                    <a:pt x="1379" y="403"/>
                  </a:cubicBezTo>
                  <a:cubicBezTo>
                    <a:pt x="1382" y="404"/>
                    <a:pt x="1382" y="407"/>
                    <a:pt x="1382" y="407"/>
                  </a:cubicBezTo>
                  <a:cubicBezTo>
                    <a:pt x="1414" y="404"/>
                    <a:pt x="1414" y="404"/>
                    <a:pt x="1414" y="404"/>
                  </a:cubicBezTo>
                  <a:cubicBezTo>
                    <a:pt x="1414" y="404"/>
                    <a:pt x="1418" y="392"/>
                    <a:pt x="1420" y="387"/>
                  </a:cubicBezTo>
                  <a:cubicBezTo>
                    <a:pt x="1422" y="380"/>
                    <a:pt x="1416" y="374"/>
                    <a:pt x="1416" y="374"/>
                  </a:cubicBezTo>
                  <a:cubicBezTo>
                    <a:pt x="1421" y="372"/>
                    <a:pt x="1421" y="372"/>
                    <a:pt x="1421" y="372"/>
                  </a:cubicBezTo>
                  <a:cubicBezTo>
                    <a:pt x="1420" y="357"/>
                    <a:pt x="1420" y="357"/>
                    <a:pt x="1420" y="357"/>
                  </a:cubicBezTo>
                  <a:cubicBezTo>
                    <a:pt x="1420" y="357"/>
                    <a:pt x="1427" y="361"/>
                    <a:pt x="1431" y="361"/>
                  </a:cubicBezTo>
                  <a:cubicBezTo>
                    <a:pt x="1435" y="360"/>
                    <a:pt x="1430" y="352"/>
                    <a:pt x="1430" y="352"/>
                  </a:cubicBezTo>
                  <a:cubicBezTo>
                    <a:pt x="1442" y="343"/>
                    <a:pt x="1442" y="343"/>
                    <a:pt x="1442" y="343"/>
                  </a:cubicBezTo>
                  <a:cubicBezTo>
                    <a:pt x="1442" y="343"/>
                    <a:pt x="1456" y="348"/>
                    <a:pt x="1461" y="346"/>
                  </a:cubicBezTo>
                  <a:cubicBezTo>
                    <a:pt x="1464" y="344"/>
                    <a:pt x="1460" y="340"/>
                    <a:pt x="1461" y="337"/>
                  </a:cubicBezTo>
                  <a:cubicBezTo>
                    <a:pt x="1462" y="336"/>
                    <a:pt x="1469" y="336"/>
                    <a:pt x="1469" y="336"/>
                  </a:cubicBezTo>
                  <a:cubicBezTo>
                    <a:pt x="1460" y="327"/>
                    <a:pt x="1460" y="327"/>
                    <a:pt x="1460" y="327"/>
                  </a:cubicBezTo>
                  <a:cubicBezTo>
                    <a:pt x="1460" y="327"/>
                    <a:pt x="1477" y="320"/>
                    <a:pt x="1479" y="318"/>
                  </a:cubicBezTo>
                  <a:cubicBezTo>
                    <a:pt x="1482" y="316"/>
                    <a:pt x="1478" y="309"/>
                    <a:pt x="1478" y="309"/>
                  </a:cubicBezTo>
                  <a:cubicBezTo>
                    <a:pt x="1478" y="309"/>
                    <a:pt x="1483" y="308"/>
                    <a:pt x="1488" y="306"/>
                  </a:cubicBezTo>
                  <a:cubicBezTo>
                    <a:pt x="1494" y="306"/>
                    <a:pt x="1494" y="312"/>
                    <a:pt x="1503" y="317"/>
                  </a:cubicBezTo>
                  <a:cubicBezTo>
                    <a:pt x="1511" y="321"/>
                    <a:pt x="1523" y="314"/>
                    <a:pt x="1532" y="310"/>
                  </a:cubicBezTo>
                  <a:cubicBezTo>
                    <a:pt x="1532" y="229"/>
                    <a:pt x="1532" y="229"/>
                    <a:pt x="1532" y="229"/>
                  </a:cubicBezTo>
                  <a:lnTo>
                    <a:pt x="1522" y="230"/>
                  </a:lnTo>
                  <a:close/>
                  <a:moveTo>
                    <a:pt x="375" y="212"/>
                  </a:moveTo>
                  <a:cubicBezTo>
                    <a:pt x="373" y="220"/>
                    <a:pt x="367" y="219"/>
                    <a:pt x="367" y="219"/>
                  </a:cubicBezTo>
                  <a:cubicBezTo>
                    <a:pt x="367" y="219"/>
                    <a:pt x="377" y="237"/>
                    <a:pt x="372" y="240"/>
                  </a:cubicBezTo>
                  <a:cubicBezTo>
                    <a:pt x="366" y="243"/>
                    <a:pt x="357" y="240"/>
                    <a:pt x="357" y="240"/>
                  </a:cubicBezTo>
                  <a:cubicBezTo>
                    <a:pt x="346" y="241"/>
                    <a:pt x="346" y="241"/>
                    <a:pt x="346" y="241"/>
                  </a:cubicBezTo>
                  <a:cubicBezTo>
                    <a:pt x="340" y="250"/>
                    <a:pt x="340" y="250"/>
                    <a:pt x="340" y="250"/>
                  </a:cubicBezTo>
                  <a:cubicBezTo>
                    <a:pt x="340" y="250"/>
                    <a:pt x="350" y="264"/>
                    <a:pt x="341" y="264"/>
                  </a:cubicBezTo>
                  <a:cubicBezTo>
                    <a:pt x="334" y="265"/>
                    <a:pt x="324" y="264"/>
                    <a:pt x="324" y="264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16" y="248"/>
                    <a:pt x="316" y="248"/>
                    <a:pt x="316" y="248"/>
                  </a:cubicBezTo>
                  <a:cubicBezTo>
                    <a:pt x="316" y="248"/>
                    <a:pt x="319" y="242"/>
                    <a:pt x="313" y="237"/>
                  </a:cubicBezTo>
                  <a:cubicBezTo>
                    <a:pt x="307" y="232"/>
                    <a:pt x="299" y="226"/>
                    <a:pt x="299" y="226"/>
                  </a:cubicBezTo>
                  <a:cubicBezTo>
                    <a:pt x="299" y="226"/>
                    <a:pt x="299" y="220"/>
                    <a:pt x="295" y="215"/>
                  </a:cubicBezTo>
                  <a:cubicBezTo>
                    <a:pt x="291" y="209"/>
                    <a:pt x="266" y="203"/>
                    <a:pt x="266" y="198"/>
                  </a:cubicBezTo>
                  <a:cubicBezTo>
                    <a:pt x="267" y="192"/>
                    <a:pt x="277" y="188"/>
                    <a:pt x="277" y="18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85" y="174"/>
                    <a:pt x="285" y="170"/>
                  </a:cubicBezTo>
                  <a:cubicBezTo>
                    <a:pt x="285" y="164"/>
                    <a:pt x="286" y="156"/>
                    <a:pt x="286" y="156"/>
                  </a:cubicBezTo>
                  <a:cubicBezTo>
                    <a:pt x="291" y="157"/>
                    <a:pt x="297" y="158"/>
                    <a:pt x="297" y="158"/>
                  </a:cubicBezTo>
                  <a:cubicBezTo>
                    <a:pt x="301" y="163"/>
                    <a:pt x="301" y="163"/>
                    <a:pt x="301" y="163"/>
                  </a:cubicBezTo>
                  <a:cubicBezTo>
                    <a:pt x="302" y="160"/>
                    <a:pt x="302" y="160"/>
                    <a:pt x="302" y="160"/>
                  </a:cubicBezTo>
                  <a:cubicBezTo>
                    <a:pt x="310" y="160"/>
                    <a:pt x="310" y="160"/>
                    <a:pt x="310" y="160"/>
                  </a:cubicBezTo>
                  <a:cubicBezTo>
                    <a:pt x="316" y="169"/>
                    <a:pt x="316" y="169"/>
                    <a:pt x="316" y="169"/>
                  </a:cubicBezTo>
                  <a:cubicBezTo>
                    <a:pt x="319" y="166"/>
                    <a:pt x="319" y="166"/>
                    <a:pt x="319" y="166"/>
                  </a:cubicBezTo>
                  <a:cubicBezTo>
                    <a:pt x="325" y="173"/>
                    <a:pt x="325" y="173"/>
                    <a:pt x="325" y="173"/>
                  </a:cubicBezTo>
                  <a:cubicBezTo>
                    <a:pt x="315" y="173"/>
                    <a:pt x="315" y="173"/>
                    <a:pt x="315" y="173"/>
                  </a:cubicBezTo>
                  <a:cubicBezTo>
                    <a:pt x="315" y="173"/>
                    <a:pt x="313" y="176"/>
                    <a:pt x="316" y="177"/>
                  </a:cubicBezTo>
                  <a:cubicBezTo>
                    <a:pt x="319" y="178"/>
                    <a:pt x="321" y="175"/>
                    <a:pt x="321" y="175"/>
                  </a:cubicBezTo>
                  <a:cubicBezTo>
                    <a:pt x="321" y="175"/>
                    <a:pt x="341" y="173"/>
                    <a:pt x="349" y="178"/>
                  </a:cubicBezTo>
                  <a:cubicBezTo>
                    <a:pt x="355" y="185"/>
                    <a:pt x="356" y="189"/>
                    <a:pt x="356" y="189"/>
                  </a:cubicBezTo>
                  <a:cubicBezTo>
                    <a:pt x="366" y="194"/>
                    <a:pt x="366" y="194"/>
                    <a:pt x="366" y="194"/>
                  </a:cubicBezTo>
                  <a:cubicBezTo>
                    <a:pt x="369" y="204"/>
                    <a:pt x="369" y="204"/>
                    <a:pt x="369" y="204"/>
                  </a:cubicBezTo>
                  <a:cubicBezTo>
                    <a:pt x="369" y="204"/>
                    <a:pt x="376" y="205"/>
                    <a:pt x="375" y="212"/>
                  </a:cubicBezTo>
                  <a:close/>
                  <a:moveTo>
                    <a:pt x="464" y="146"/>
                  </a:moveTo>
                  <a:cubicBezTo>
                    <a:pt x="462" y="151"/>
                    <a:pt x="462" y="158"/>
                    <a:pt x="462" y="158"/>
                  </a:cubicBezTo>
                  <a:cubicBezTo>
                    <a:pt x="449" y="160"/>
                    <a:pt x="449" y="160"/>
                    <a:pt x="449" y="160"/>
                  </a:cubicBezTo>
                  <a:cubicBezTo>
                    <a:pt x="449" y="160"/>
                    <a:pt x="454" y="151"/>
                    <a:pt x="446" y="142"/>
                  </a:cubicBezTo>
                  <a:cubicBezTo>
                    <a:pt x="437" y="132"/>
                    <a:pt x="425" y="131"/>
                    <a:pt x="425" y="131"/>
                  </a:cubicBezTo>
                  <a:cubicBezTo>
                    <a:pt x="408" y="128"/>
                    <a:pt x="408" y="128"/>
                    <a:pt x="408" y="12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98" y="117"/>
                    <a:pt x="398" y="117"/>
                    <a:pt x="398" y="117"/>
                  </a:cubicBezTo>
                  <a:cubicBezTo>
                    <a:pt x="401" y="117"/>
                    <a:pt x="401" y="117"/>
                    <a:pt x="401" y="117"/>
                  </a:cubicBezTo>
                  <a:cubicBezTo>
                    <a:pt x="401" y="108"/>
                    <a:pt x="401" y="108"/>
                    <a:pt x="401" y="108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89" y="101"/>
                    <a:pt x="389" y="101"/>
                    <a:pt x="389" y="101"/>
                  </a:cubicBezTo>
                  <a:cubicBezTo>
                    <a:pt x="381" y="92"/>
                    <a:pt x="381" y="92"/>
                    <a:pt x="381" y="92"/>
                  </a:cubicBezTo>
                  <a:cubicBezTo>
                    <a:pt x="373" y="84"/>
                    <a:pt x="373" y="84"/>
                    <a:pt x="373" y="84"/>
                  </a:cubicBezTo>
                  <a:cubicBezTo>
                    <a:pt x="375" y="84"/>
                    <a:pt x="375" y="84"/>
                    <a:pt x="375" y="84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6" y="95"/>
                    <a:pt x="386" y="95"/>
                    <a:pt x="386" y="95"/>
                  </a:cubicBezTo>
                  <a:cubicBezTo>
                    <a:pt x="401" y="103"/>
                    <a:pt x="401" y="103"/>
                    <a:pt x="401" y="103"/>
                  </a:cubicBezTo>
                  <a:cubicBezTo>
                    <a:pt x="401" y="100"/>
                    <a:pt x="401" y="100"/>
                    <a:pt x="401" y="100"/>
                  </a:cubicBezTo>
                  <a:cubicBezTo>
                    <a:pt x="395" y="92"/>
                    <a:pt x="395" y="92"/>
                    <a:pt x="395" y="92"/>
                  </a:cubicBezTo>
                  <a:cubicBezTo>
                    <a:pt x="399" y="92"/>
                    <a:pt x="399" y="92"/>
                    <a:pt x="399" y="92"/>
                  </a:cubicBezTo>
                  <a:cubicBezTo>
                    <a:pt x="385" y="80"/>
                    <a:pt x="385" y="80"/>
                    <a:pt x="385" y="80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85" y="72"/>
                    <a:pt x="385" y="72"/>
                    <a:pt x="385" y="72"/>
                  </a:cubicBezTo>
                  <a:cubicBezTo>
                    <a:pt x="385" y="72"/>
                    <a:pt x="401" y="83"/>
                    <a:pt x="402" y="87"/>
                  </a:cubicBezTo>
                  <a:cubicBezTo>
                    <a:pt x="404" y="90"/>
                    <a:pt x="411" y="96"/>
                    <a:pt x="413" y="97"/>
                  </a:cubicBezTo>
                  <a:cubicBezTo>
                    <a:pt x="414" y="97"/>
                    <a:pt x="414" y="94"/>
                    <a:pt x="414" y="94"/>
                  </a:cubicBezTo>
                  <a:cubicBezTo>
                    <a:pt x="414" y="94"/>
                    <a:pt x="407" y="90"/>
                    <a:pt x="408" y="88"/>
                  </a:cubicBezTo>
                  <a:cubicBezTo>
                    <a:pt x="409" y="85"/>
                    <a:pt x="422" y="94"/>
                    <a:pt x="422" y="84"/>
                  </a:cubicBezTo>
                  <a:cubicBezTo>
                    <a:pt x="423" y="75"/>
                    <a:pt x="411" y="66"/>
                    <a:pt x="411" y="66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397" y="63"/>
                    <a:pt x="397" y="63"/>
                    <a:pt x="397" y="63"/>
                  </a:cubicBezTo>
                  <a:cubicBezTo>
                    <a:pt x="393" y="63"/>
                    <a:pt x="393" y="63"/>
                    <a:pt x="393" y="63"/>
                  </a:cubicBezTo>
                  <a:cubicBezTo>
                    <a:pt x="404" y="77"/>
                    <a:pt x="404" y="77"/>
                    <a:pt x="404" y="77"/>
                  </a:cubicBezTo>
                  <a:cubicBezTo>
                    <a:pt x="404" y="77"/>
                    <a:pt x="374" y="54"/>
                    <a:pt x="376" y="52"/>
                  </a:cubicBezTo>
                  <a:cubicBezTo>
                    <a:pt x="379" y="49"/>
                    <a:pt x="385" y="54"/>
                    <a:pt x="385" y="54"/>
                  </a:cubicBezTo>
                  <a:cubicBezTo>
                    <a:pt x="385" y="54"/>
                    <a:pt x="390" y="52"/>
                    <a:pt x="393" y="53"/>
                  </a:cubicBezTo>
                  <a:cubicBezTo>
                    <a:pt x="397" y="53"/>
                    <a:pt x="407" y="59"/>
                    <a:pt x="407" y="59"/>
                  </a:cubicBezTo>
                  <a:cubicBezTo>
                    <a:pt x="407" y="59"/>
                    <a:pt x="421" y="56"/>
                    <a:pt x="426" y="66"/>
                  </a:cubicBezTo>
                  <a:cubicBezTo>
                    <a:pt x="433" y="76"/>
                    <a:pt x="424" y="88"/>
                    <a:pt x="429" y="91"/>
                  </a:cubicBezTo>
                  <a:cubicBezTo>
                    <a:pt x="433" y="94"/>
                    <a:pt x="440" y="104"/>
                    <a:pt x="440" y="104"/>
                  </a:cubicBezTo>
                  <a:cubicBezTo>
                    <a:pt x="447" y="104"/>
                    <a:pt x="447" y="104"/>
                    <a:pt x="447" y="104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48" y="111"/>
                    <a:pt x="466" y="116"/>
                    <a:pt x="468" y="126"/>
                  </a:cubicBezTo>
                  <a:cubicBezTo>
                    <a:pt x="470" y="136"/>
                    <a:pt x="467" y="141"/>
                    <a:pt x="464" y="146"/>
                  </a:cubicBezTo>
                  <a:close/>
                  <a:moveTo>
                    <a:pt x="109" y="652"/>
                  </a:moveTo>
                  <a:cubicBezTo>
                    <a:pt x="109" y="652"/>
                    <a:pt x="117" y="647"/>
                    <a:pt x="113" y="644"/>
                  </a:cubicBezTo>
                  <a:cubicBezTo>
                    <a:pt x="110" y="642"/>
                    <a:pt x="101" y="635"/>
                    <a:pt x="101" y="635"/>
                  </a:cubicBezTo>
                  <a:cubicBezTo>
                    <a:pt x="90" y="635"/>
                    <a:pt x="90" y="635"/>
                    <a:pt x="90" y="635"/>
                  </a:cubicBezTo>
                  <a:cubicBezTo>
                    <a:pt x="80" y="639"/>
                    <a:pt x="80" y="639"/>
                    <a:pt x="80" y="639"/>
                  </a:cubicBezTo>
                  <a:cubicBezTo>
                    <a:pt x="79" y="635"/>
                    <a:pt x="79" y="635"/>
                    <a:pt x="79" y="635"/>
                  </a:cubicBezTo>
                  <a:cubicBezTo>
                    <a:pt x="79" y="635"/>
                    <a:pt x="73" y="637"/>
                    <a:pt x="69" y="634"/>
                  </a:cubicBezTo>
                  <a:cubicBezTo>
                    <a:pt x="64" y="632"/>
                    <a:pt x="62" y="631"/>
                    <a:pt x="62" y="631"/>
                  </a:cubicBezTo>
                  <a:cubicBezTo>
                    <a:pt x="56" y="632"/>
                    <a:pt x="56" y="632"/>
                    <a:pt x="56" y="632"/>
                  </a:cubicBezTo>
                  <a:cubicBezTo>
                    <a:pt x="51" y="628"/>
                    <a:pt x="51" y="628"/>
                    <a:pt x="51" y="628"/>
                  </a:cubicBezTo>
                  <a:cubicBezTo>
                    <a:pt x="49" y="633"/>
                    <a:pt x="49" y="633"/>
                    <a:pt x="49" y="633"/>
                  </a:cubicBezTo>
                  <a:cubicBezTo>
                    <a:pt x="46" y="633"/>
                    <a:pt x="46" y="633"/>
                    <a:pt x="46" y="633"/>
                  </a:cubicBezTo>
                  <a:cubicBezTo>
                    <a:pt x="51" y="649"/>
                    <a:pt x="51" y="649"/>
                    <a:pt x="51" y="649"/>
                  </a:cubicBezTo>
                  <a:cubicBezTo>
                    <a:pt x="44" y="653"/>
                    <a:pt x="44" y="653"/>
                    <a:pt x="44" y="653"/>
                  </a:cubicBezTo>
                  <a:cubicBezTo>
                    <a:pt x="37" y="653"/>
                    <a:pt x="37" y="653"/>
                    <a:pt x="37" y="653"/>
                  </a:cubicBezTo>
                  <a:cubicBezTo>
                    <a:pt x="37" y="653"/>
                    <a:pt x="33" y="652"/>
                    <a:pt x="32" y="652"/>
                  </a:cubicBezTo>
                  <a:cubicBezTo>
                    <a:pt x="31" y="652"/>
                    <a:pt x="24" y="653"/>
                    <a:pt x="24" y="653"/>
                  </a:cubicBezTo>
                  <a:cubicBezTo>
                    <a:pt x="36" y="636"/>
                    <a:pt x="36" y="636"/>
                    <a:pt x="36" y="636"/>
                  </a:cubicBezTo>
                  <a:cubicBezTo>
                    <a:pt x="36" y="632"/>
                    <a:pt x="36" y="632"/>
                    <a:pt x="36" y="632"/>
                  </a:cubicBezTo>
                  <a:cubicBezTo>
                    <a:pt x="41" y="627"/>
                    <a:pt x="41" y="627"/>
                    <a:pt x="41" y="627"/>
                  </a:cubicBezTo>
                  <a:cubicBezTo>
                    <a:pt x="39" y="625"/>
                    <a:pt x="39" y="625"/>
                    <a:pt x="39" y="625"/>
                  </a:cubicBezTo>
                  <a:cubicBezTo>
                    <a:pt x="37" y="626"/>
                    <a:pt x="37" y="626"/>
                    <a:pt x="37" y="626"/>
                  </a:cubicBezTo>
                  <a:cubicBezTo>
                    <a:pt x="32" y="636"/>
                    <a:pt x="32" y="636"/>
                    <a:pt x="32" y="636"/>
                  </a:cubicBezTo>
                  <a:cubicBezTo>
                    <a:pt x="23" y="649"/>
                    <a:pt x="23" y="649"/>
                    <a:pt x="23" y="649"/>
                  </a:cubicBezTo>
                  <a:cubicBezTo>
                    <a:pt x="20" y="652"/>
                    <a:pt x="20" y="652"/>
                    <a:pt x="20" y="652"/>
                  </a:cubicBezTo>
                  <a:cubicBezTo>
                    <a:pt x="2" y="655"/>
                    <a:pt x="2" y="655"/>
                    <a:pt x="2" y="655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664"/>
                    <a:pt x="3" y="664"/>
                    <a:pt x="3" y="664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3" y="676"/>
                    <a:pt x="3" y="676"/>
                    <a:pt x="3" y="676"/>
                  </a:cubicBezTo>
                  <a:cubicBezTo>
                    <a:pt x="4" y="673"/>
                    <a:pt x="4" y="673"/>
                    <a:pt x="4" y="673"/>
                  </a:cubicBezTo>
                  <a:cubicBezTo>
                    <a:pt x="6" y="671"/>
                    <a:pt x="6" y="671"/>
                    <a:pt x="6" y="671"/>
                  </a:cubicBezTo>
                  <a:cubicBezTo>
                    <a:pt x="8" y="674"/>
                    <a:pt x="8" y="674"/>
                    <a:pt x="8" y="674"/>
                  </a:cubicBezTo>
                  <a:cubicBezTo>
                    <a:pt x="13" y="669"/>
                    <a:pt x="13" y="669"/>
                    <a:pt x="13" y="669"/>
                  </a:cubicBezTo>
                  <a:cubicBezTo>
                    <a:pt x="21" y="671"/>
                    <a:pt x="21" y="671"/>
                    <a:pt x="21" y="671"/>
                  </a:cubicBezTo>
                  <a:cubicBezTo>
                    <a:pt x="16" y="673"/>
                    <a:pt x="16" y="673"/>
                    <a:pt x="16" y="673"/>
                  </a:cubicBezTo>
                  <a:cubicBezTo>
                    <a:pt x="16" y="675"/>
                    <a:pt x="16" y="675"/>
                    <a:pt x="16" y="675"/>
                  </a:cubicBezTo>
                  <a:cubicBezTo>
                    <a:pt x="8" y="680"/>
                    <a:pt x="8" y="680"/>
                    <a:pt x="8" y="680"/>
                  </a:cubicBezTo>
                  <a:cubicBezTo>
                    <a:pt x="6" y="679"/>
                    <a:pt x="6" y="679"/>
                    <a:pt x="6" y="679"/>
                  </a:cubicBezTo>
                  <a:cubicBezTo>
                    <a:pt x="3" y="687"/>
                    <a:pt x="3" y="687"/>
                    <a:pt x="3" y="687"/>
                  </a:cubicBezTo>
                  <a:cubicBezTo>
                    <a:pt x="11" y="687"/>
                    <a:pt x="45" y="689"/>
                    <a:pt x="58" y="688"/>
                  </a:cubicBezTo>
                  <a:cubicBezTo>
                    <a:pt x="74" y="688"/>
                    <a:pt x="113" y="678"/>
                    <a:pt x="113" y="678"/>
                  </a:cubicBezTo>
                  <a:cubicBezTo>
                    <a:pt x="113" y="678"/>
                    <a:pt x="106" y="671"/>
                    <a:pt x="107" y="663"/>
                  </a:cubicBezTo>
                  <a:cubicBezTo>
                    <a:pt x="107" y="657"/>
                    <a:pt x="109" y="652"/>
                    <a:pt x="109" y="652"/>
                  </a:cubicBezTo>
                  <a:close/>
                  <a:moveTo>
                    <a:pt x="244" y="266"/>
                  </a:moveTo>
                  <a:cubicBezTo>
                    <a:pt x="246" y="263"/>
                    <a:pt x="246" y="263"/>
                    <a:pt x="246" y="263"/>
                  </a:cubicBezTo>
                  <a:cubicBezTo>
                    <a:pt x="238" y="259"/>
                    <a:pt x="238" y="259"/>
                    <a:pt x="238" y="259"/>
                  </a:cubicBezTo>
                  <a:cubicBezTo>
                    <a:pt x="239" y="264"/>
                    <a:pt x="239" y="264"/>
                    <a:pt x="239" y="264"/>
                  </a:cubicBezTo>
                  <a:lnTo>
                    <a:pt x="244" y="2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in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663965" y="681942"/>
              <a:ext cx="974771" cy="927578"/>
            </a:xfrm>
            <a:custGeom>
              <a:avLst/>
              <a:gdLst/>
              <a:ahLst/>
              <a:cxnLst>
                <a:cxn ang="0">
                  <a:pos x="25" y="116"/>
                </a:cxn>
                <a:cxn ang="0">
                  <a:pos x="27" y="322"/>
                </a:cxn>
                <a:cxn ang="0">
                  <a:pos x="19" y="322"/>
                </a:cxn>
                <a:cxn ang="0">
                  <a:pos x="54" y="282"/>
                </a:cxn>
                <a:cxn ang="0">
                  <a:pos x="62" y="289"/>
                </a:cxn>
                <a:cxn ang="0">
                  <a:pos x="60" y="109"/>
                </a:cxn>
                <a:cxn ang="0">
                  <a:pos x="17" y="312"/>
                </a:cxn>
                <a:cxn ang="0">
                  <a:pos x="18" y="305"/>
                </a:cxn>
                <a:cxn ang="0">
                  <a:pos x="11" y="312"/>
                </a:cxn>
                <a:cxn ang="0">
                  <a:pos x="13" y="325"/>
                </a:cxn>
                <a:cxn ang="0">
                  <a:pos x="17" y="312"/>
                </a:cxn>
                <a:cxn ang="0">
                  <a:pos x="76" y="309"/>
                </a:cxn>
                <a:cxn ang="0">
                  <a:pos x="76" y="309"/>
                </a:cxn>
                <a:cxn ang="0">
                  <a:pos x="230" y="272"/>
                </a:cxn>
                <a:cxn ang="0">
                  <a:pos x="329" y="59"/>
                </a:cxn>
                <a:cxn ang="0">
                  <a:pos x="289" y="25"/>
                </a:cxn>
                <a:cxn ang="0">
                  <a:pos x="110" y="10"/>
                </a:cxn>
                <a:cxn ang="0">
                  <a:pos x="92" y="50"/>
                </a:cxn>
                <a:cxn ang="0">
                  <a:pos x="77" y="73"/>
                </a:cxn>
                <a:cxn ang="0">
                  <a:pos x="68" y="76"/>
                </a:cxn>
                <a:cxn ang="0">
                  <a:pos x="65" y="91"/>
                </a:cxn>
                <a:cxn ang="0">
                  <a:pos x="61" y="99"/>
                </a:cxn>
                <a:cxn ang="0">
                  <a:pos x="43" y="117"/>
                </a:cxn>
                <a:cxn ang="0">
                  <a:pos x="38" y="137"/>
                </a:cxn>
                <a:cxn ang="0">
                  <a:pos x="35" y="159"/>
                </a:cxn>
                <a:cxn ang="0">
                  <a:pos x="46" y="201"/>
                </a:cxn>
                <a:cxn ang="0">
                  <a:pos x="57" y="217"/>
                </a:cxn>
                <a:cxn ang="0">
                  <a:pos x="52" y="227"/>
                </a:cxn>
                <a:cxn ang="0">
                  <a:pos x="58" y="253"/>
                </a:cxn>
                <a:cxn ang="0">
                  <a:pos x="50" y="268"/>
                </a:cxn>
                <a:cxn ang="0">
                  <a:pos x="60" y="283"/>
                </a:cxn>
                <a:cxn ang="0">
                  <a:pos x="73" y="290"/>
                </a:cxn>
                <a:cxn ang="0">
                  <a:pos x="94" y="293"/>
                </a:cxn>
                <a:cxn ang="0">
                  <a:pos x="114" y="294"/>
                </a:cxn>
                <a:cxn ang="0">
                  <a:pos x="120" y="311"/>
                </a:cxn>
                <a:cxn ang="0">
                  <a:pos x="122" y="317"/>
                </a:cxn>
                <a:cxn ang="0">
                  <a:pos x="132" y="318"/>
                </a:cxn>
                <a:cxn ang="0">
                  <a:pos x="164" y="305"/>
                </a:cxn>
                <a:cxn ang="0">
                  <a:pos x="185" y="290"/>
                </a:cxn>
                <a:cxn ang="0">
                  <a:pos x="208" y="279"/>
                </a:cxn>
                <a:cxn ang="0">
                  <a:pos x="223" y="272"/>
                </a:cxn>
                <a:cxn ang="0">
                  <a:pos x="246" y="257"/>
                </a:cxn>
                <a:cxn ang="0">
                  <a:pos x="286" y="221"/>
                </a:cxn>
                <a:cxn ang="0">
                  <a:pos x="326" y="140"/>
                </a:cxn>
                <a:cxn ang="0">
                  <a:pos x="207" y="289"/>
                </a:cxn>
                <a:cxn ang="0">
                  <a:pos x="228" y="274"/>
                </a:cxn>
                <a:cxn ang="0">
                  <a:pos x="85" y="309"/>
                </a:cxn>
                <a:cxn ang="0">
                  <a:pos x="73" y="298"/>
                </a:cxn>
                <a:cxn ang="0">
                  <a:pos x="76" y="293"/>
                </a:cxn>
                <a:cxn ang="0">
                  <a:pos x="138" y="322"/>
                </a:cxn>
                <a:cxn ang="0">
                  <a:pos x="102" y="305"/>
                </a:cxn>
                <a:cxn ang="0">
                  <a:pos x="96" y="319"/>
                </a:cxn>
                <a:cxn ang="0">
                  <a:pos x="112" y="299"/>
                </a:cxn>
              </a:cxnLst>
              <a:rect l="0" t="0" r="r" b="b"/>
              <a:pathLst>
                <a:path w="345" h="329">
                  <a:moveTo>
                    <a:pt x="35" y="117"/>
                  </a:moveTo>
                  <a:cubicBezTo>
                    <a:pt x="35" y="117"/>
                    <a:pt x="32" y="119"/>
                    <a:pt x="31" y="119"/>
                  </a:cubicBezTo>
                  <a:cubicBezTo>
                    <a:pt x="29" y="119"/>
                    <a:pt x="30" y="116"/>
                    <a:pt x="30" y="116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4" y="124"/>
                    <a:pt x="37" y="121"/>
                    <a:pt x="37" y="121"/>
                  </a:cubicBezTo>
                  <a:lnTo>
                    <a:pt x="35" y="117"/>
                  </a:lnTo>
                  <a:close/>
                  <a:moveTo>
                    <a:pt x="26" y="318"/>
                  </a:moveTo>
                  <a:cubicBezTo>
                    <a:pt x="24" y="319"/>
                    <a:pt x="24" y="322"/>
                    <a:pt x="27" y="322"/>
                  </a:cubicBezTo>
                  <a:cubicBezTo>
                    <a:pt x="29" y="321"/>
                    <a:pt x="29" y="317"/>
                    <a:pt x="26" y="318"/>
                  </a:cubicBezTo>
                  <a:close/>
                  <a:moveTo>
                    <a:pt x="18" y="325"/>
                  </a:moveTo>
                  <a:cubicBezTo>
                    <a:pt x="24" y="329"/>
                    <a:pt x="24" y="329"/>
                    <a:pt x="24" y="329"/>
                  </a:cubicBezTo>
                  <a:cubicBezTo>
                    <a:pt x="26" y="326"/>
                    <a:pt x="26" y="326"/>
                    <a:pt x="26" y="326"/>
                  </a:cubicBezTo>
                  <a:cubicBezTo>
                    <a:pt x="19" y="322"/>
                    <a:pt x="19" y="322"/>
                    <a:pt x="19" y="322"/>
                  </a:cubicBezTo>
                  <a:lnTo>
                    <a:pt x="18" y="325"/>
                  </a:lnTo>
                  <a:close/>
                  <a:moveTo>
                    <a:pt x="53" y="283"/>
                  </a:moveTo>
                  <a:cubicBezTo>
                    <a:pt x="56" y="286"/>
                    <a:pt x="56" y="286"/>
                    <a:pt x="56" y="286"/>
                  </a:cubicBezTo>
                  <a:cubicBezTo>
                    <a:pt x="57" y="283"/>
                    <a:pt x="57" y="283"/>
                    <a:pt x="57" y="283"/>
                  </a:cubicBezTo>
                  <a:cubicBezTo>
                    <a:pt x="54" y="282"/>
                    <a:pt x="54" y="282"/>
                    <a:pt x="54" y="282"/>
                  </a:cubicBezTo>
                  <a:lnTo>
                    <a:pt x="53" y="283"/>
                  </a:lnTo>
                  <a:close/>
                  <a:moveTo>
                    <a:pt x="62" y="289"/>
                  </a:moveTo>
                  <a:cubicBezTo>
                    <a:pt x="58" y="286"/>
                    <a:pt x="57" y="285"/>
                    <a:pt x="58" y="287"/>
                  </a:cubicBezTo>
                  <a:cubicBezTo>
                    <a:pt x="60" y="292"/>
                    <a:pt x="60" y="292"/>
                    <a:pt x="60" y="292"/>
                  </a:cubicBezTo>
                  <a:cubicBezTo>
                    <a:pt x="65" y="292"/>
                    <a:pt x="65" y="292"/>
                    <a:pt x="62" y="289"/>
                  </a:cubicBezTo>
                  <a:close/>
                  <a:moveTo>
                    <a:pt x="60" y="109"/>
                  </a:moveTo>
                  <a:cubicBezTo>
                    <a:pt x="56" y="107"/>
                    <a:pt x="56" y="107"/>
                    <a:pt x="56" y="107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7" y="111"/>
                    <a:pt x="57" y="111"/>
                    <a:pt x="57" y="111"/>
                  </a:cubicBezTo>
                  <a:lnTo>
                    <a:pt x="60" y="109"/>
                  </a:lnTo>
                  <a:close/>
                  <a:moveTo>
                    <a:pt x="35" y="111"/>
                  </a:moveTo>
                  <a:cubicBezTo>
                    <a:pt x="30" y="112"/>
                    <a:pt x="30" y="112"/>
                    <a:pt x="30" y="112"/>
                  </a:cubicBezTo>
                  <a:cubicBezTo>
                    <a:pt x="33" y="115"/>
                    <a:pt x="33" y="115"/>
                    <a:pt x="33" y="115"/>
                  </a:cubicBezTo>
                  <a:lnTo>
                    <a:pt x="35" y="111"/>
                  </a:lnTo>
                  <a:close/>
                  <a:moveTo>
                    <a:pt x="17" y="312"/>
                  </a:moveTo>
                  <a:cubicBezTo>
                    <a:pt x="17" y="312"/>
                    <a:pt x="17" y="314"/>
                    <a:pt x="18" y="316"/>
                  </a:cubicBezTo>
                  <a:cubicBezTo>
                    <a:pt x="19" y="317"/>
                    <a:pt x="24" y="315"/>
                    <a:pt x="24" y="315"/>
                  </a:cubicBezTo>
                  <a:cubicBezTo>
                    <a:pt x="23" y="308"/>
                    <a:pt x="23" y="308"/>
                    <a:pt x="23" y="308"/>
                  </a:cubicBezTo>
                  <a:cubicBezTo>
                    <a:pt x="18" y="308"/>
                    <a:pt x="18" y="308"/>
                    <a:pt x="18" y="308"/>
                  </a:cubicBezTo>
                  <a:cubicBezTo>
                    <a:pt x="18" y="305"/>
                    <a:pt x="18" y="305"/>
                    <a:pt x="18" y="305"/>
                  </a:cubicBezTo>
                  <a:cubicBezTo>
                    <a:pt x="14" y="306"/>
                    <a:pt x="14" y="306"/>
                    <a:pt x="14" y="306"/>
                  </a:cubicBezTo>
                  <a:cubicBezTo>
                    <a:pt x="14" y="306"/>
                    <a:pt x="13" y="304"/>
                    <a:pt x="13" y="302"/>
                  </a:cubicBezTo>
                  <a:cubicBezTo>
                    <a:pt x="13" y="301"/>
                    <a:pt x="10" y="299"/>
                    <a:pt x="8" y="303"/>
                  </a:cubicBezTo>
                  <a:cubicBezTo>
                    <a:pt x="8" y="306"/>
                    <a:pt x="8" y="306"/>
                    <a:pt x="8" y="306"/>
                  </a:cubicBezTo>
                  <a:cubicBezTo>
                    <a:pt x="11" y="312"/>
                    <a:pt x="11" y="312"/>
                    <a:pt x="11" y="312"/>
                  </a:cubicBezTo>
                  <a:cubicBezTo>
                    <a:pt x="8" y="314"/>
                    <a:pt x="8" y="314"/>
                    <a:pt x="8" y="314"/>
                  </a:cubicBezTo>
                  <a:cubicBezTo>
                    <a:pt x="7" y="310"/>
                    <a:pt x="7" y="310"/>
                    <a:pt x="7" y="310"/>
                  </a:cubicBezTo>
                  <a:cubicBezTo>
                    <a:pt x="4" y="313"/>
                    <a:pt x="4" y="313"/>
                    <a:pt x="4" y="313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13" y="325"/>
                    <a:pt x="13" y="325"/>
                    <a:pt x="13" y="325"/>
                  </a:cubicBezTo>
                  <a:cubicBezTo>
                    <a:pt x="17" y="321"/>
                    <a:pt x="17" y="321"/>
                    <a:pt x="17" y="321"/>
                  </a:cubicBezTo>
                  <a:cubicBezTo>
                    <a:pt x="17" y="317"/>
                    <a:pt x="17" y="317"/>
                    <a:pt x="17" y="317"/>
                  </a:cubicBezTo>
                  <a:cubicBezTo>
                    <a:pt x="15" y="317"/>
                    <a:pt x="15" y="317"/>
                    <a:pt x="15" y="317"/>
                  </a:cubicBezTo>
                  <a:cubicBezTo>
                    <a:pt x="15" y="313"/>
                    <a:pt x="15" y="313"/>
                    <a:pt x="15" y="313"/>
                  </a:cubicBezTo>
                  <a:lnTo>
                    <a:pt x="17" y="312"/>
                  </a:lnTo>
                  <a:close/>
                  <a:moveTo>
                    <a:pt x="0" y="321"/>
                  </a:moveTo>
                  <a:cubicBezTo>
                    <a:pt x="4" y="319"/>
                    <a:pt x="4" y="319"/>
                    <a:pt x="4" y="319"/>
                  </a:cubicBezTo>
                  <a:cubicBezTo>
                    <a:pt x="2" y="313"/>
                    <a:pt x="2" y="313"/>
                    <a:pt x="2" y="313"/>
                  </a:cubicBezTo>
                  <a:lnTo>
                    <a:pt x="0" y="321"/>
                  </a:lnTo>
                  <a:close/>
                  <a:moveTo>
                    <a:pt x="76" y="309"/>
                  </a:moveTo>
                  <a:cubicBezTo>
                    <a:pt x="74" y="310"/>
                    <a:pt x="75" y="312"/>
                    <a:pt x="75" y="312"/>
                  </a:cubicBezTo>
                  <a:cubicBezTo>
                    <a:pt x="73" y="314"/>
                    <a:pt x="73" y="314"/>
                    <a:pt x="73" y="314"/>
                  </a:cubicBezTo>
                  <a:cubicBezTo>
                    <a:pt x="74" y="315"/>
                    <a:pt x="74" y="315"/>
                    <a:pt x="74" y="315"/>
                  </a:cubicBezTo>
                  <a:cubicBezTo>
                    <a:pt x="80" y="310"/>
                    <a:pt x="80" y="310"/>
                    <a:pt x="80" y="310"/>
                  </a:cubicBezTo>
                  <a:cubicBezTo>
                    <a:pt x="80" y="310"/>
                    <a:pt x="78" y="308"/>
                    <a:pt x="76" y="309"/>
                  </a:cubicBezTo>
                  <a:close/>
                  <a:moveTo>
                    <a:pt x="70" y="312"/>
                  </a:moveTo>
                  <a:cubicBezTo>
                    <a:pt x="67" y="312"/>
                    <a:pt x="63" y="317"/>
                    <a:pt x="69" y="316"/>
                  </a:cubicBezTo>
                  <a:cubicBezTo>
                    <a:pt x="69" y="316"/>
                    <a:pt x="74" y="312"/>
                    <a:pt x="70" y="312"/>
                  </a:cubicBezTo>
                  <a:close/>
                  <a:moveTo>
                    <a:pt x="228" y="269"/>
                  </a:moveTo>
                  <a:cubicBezTo>
                    <a:pt x="230" y="272"/>
                    <a:pt x="230" y="272"/>
                    <a:pt x="230" y="272"/>
                  </a:cubicBezTo>
                  <a:cubicBezTo>
                    <a:pt x="234" y="270"/>
                    <a:pt x="234" y="270"/>
                    <a:pt x="234" y="270"/>
                  </a:cubicBezTo>
                  <a:cubicBezTo>
                    <a:pt x="233" y="268"/>
                    <a:pt x="233" y="268"/>
                    <a:pt x="233" y="268"/>
                  </a:cubicBezTo>
                  <a:lnTo>
                    <a:pt x="228" y="269"/>
                  </a:lnTo>
                  <a:close/>
                  <a:moveTo>
                    <a:pt x="332" y="67"/>
                  </a:moveTo>
                  <a:cubicBezTo>
                    <a:pt x="329" y="59"/>
                    <a:pt x="329" y="59"/>
                    <a:pt x="329" y="59"/>
                  </a:cubicBezTo>
                  <a:cubicBezTo>
                    <a:pt x="313" y="51"/>
                    <a:pt x="313" y="51"/>
                    <a:pt x="313" y="51"/>
                  </a:cubicBezTo>
                  <a:cubicBezTo>
                    <a:pt x="302" y="49"/>
                    <a:pt x="302" y="49"/>
                    <a:pt x="302" y="49"/>
                  </a:cubicBezTo>
                  <a:cubicBezTo>
                    <a:pt x="281" y="35"/>
                    <a:pt x="281" y="35"/>
                    <a:pt x="281" y="35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89" y="25"/>
                    <a:pt x="289" y="25"/>
                    <a:pt x="289" y="25"/>
                  </a:cubicBezTo>
                  <a:cubicBezTo>
                    <a:pt x="289" y="25"/>
                    <a:pt x="294" y="10"/>
                    <a:pt x="290" y="1"/>
                  </a:cubicBezTo>
                  <a:cubicBezTo>
                    <a:pt x="290" y="1"/>
                    <a:pt x="290" y="1"/>
                    <a:pt x="28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85"/>
                    <a:pt x="70" y="81"/>
                    <a:pt x="67" y="83"/>
                  </a:cubicBezTo>
                  <a:cubicBezTo>
                    <a:pt x="63" y="85"/>
                    <a:pt x="65" y="91"/>
                    <a:pt x="65" y="91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4" y="96"/>
                    <a:pt x="63" y="97"/>
                    <a:pt x="63" y="97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8" y="99"/>
                    <a:pt x="62" y="110"/>
                    <a:pt x="61" y="112"/>
                  </a:cubicBezTo>
                  <a:cubicBezTo>
                    <a:pt x="60" y="115"/>
                    <a:pt x="54" y="113"/>
                    <a:pt x="52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7"/>
                    <a:pt x="43" y="117"/>
                  </a:cubicBezTo>
                  <a:cubicBezTo>
                    <a:pt x="42" y="117"/>
                    <a:pt x="40" y="114"/>
                    <a:pt x="40" y="114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0" y="129"/>
                    <a:pt x="40" y="129"/>
                    <a:pt x="40" y="129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7"/>
                    <a:pt x="40" y="139"/>
                    <a:pt x="40" y="141"/>
                  </a:cubicBezTo>
                  <a:cubicBezTo>
                    <a:pt x="40" y="142"/>
                    <a:pt x="35" y="142"/>
                    <a:pt x="35" y="142"/>
                  </a:cubicBezTo>
                  <a:cubicBezTo>
                    <a:pt x="32" y="147"/>
                    <a:pt x="32" y="147"/>
                    <a:pt x="32" y="147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5" y="159"/>
                    <a:pt x="32" y="163"/>
                    <a:pt x="33" y="168"/>
                  </a:cubicBezTo>
                  <a:cubicBezTo>
                    <a:pt x="33" y="172"/>
                    <a:pt x="41" y="174"/>
                    <a:pt x="43" y="178"/>
                  </a:cubicBezTo>
                  <a:cubicBezTo>
                    <a:pt x="46" y="183"/>
                    <a:pt x="43" y="189"/>
                    <a:pt x="43" y="189"/>
                  </a:cubicBezTo>
                  <a:cubicBezTo>
                    <a:pt x="43" y="198"/>
                    <a:pt x="43" y="198"/>
                    <a:pt x="43" y="198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9" y="199"/>
                    <a:pt x="49" y="205"/>
                    <a:pt x="50" y="207"/>
                  </a:cubicBezTo>
                  <a:cubicBezTo>
                    <a:pt x="51" y="210"/>
                    <a:pt x="54" y="214"/>
                    <a:pt x="54" y="214"/>
                  </a:cubicBezTo>
                  <a:cubicBezTo>
                    <a:pt x="53" y="216"/>
                    <a:pt x="53" y="216"/>
                    <a:pt x="53" y="216"/>
                  </a:cubicBezTo>
                  <a:cubicBezTo>
                    <a:pt x="57" y="217"/>
                    <a:pt x="57" y="217"/>
                    <a:pt x="57" y="217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6" y="227"/>
                    <a:pt x="56" y="227"/>
                    <a:pt x="56" y="227"/>
                  </a:cubicBezTo>
                  <a:cubicBezTo>
                    <a:pt x="52" y="227"/>
                    <a:pt x="52" y="227"/>
                    <a:pt x="52" y="227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58" y="239"/>
                    <a:pt x="58" y="239"/>
                    <a:pt x="58" y="239"/>
                  </a:cubicBezTo>
                  <a:cubicBezTo>
                    <a:pt x="58" y="239"/>
                    <a:pt x="59" y="243"/>
                    <a:pt x="57" y="246"/>
                  </a:cubicBezTo>
                  <a:cubicBezTo>
                    <a:pt x="54" y="248"/>
                    <a:pt x="58" y="253"/>
                    <a:pt x="58" y="253"/>
                  </a:cubicBezTo>
                  <a:cubicBezTo>
                    <a:pt x="58" y="253"/>
                    <a:pt x="53" y="254"/>
                    <a:pt x="53" y="258"/>
                  </a:cubicBezTo>
                  <a:cubicBezTo>
                    <a:pt x="54" y="262"/>
                    <a:pt x="57" y="265"/>
                    <a:pt x="57" y="265"/>
                  </a:cubicBezTo>
                  <a:cubicBezTo>
                    <a:pt x="54" y="265"/>
                    <a:pt x="54" y="265"/>
                    <a:pt x="54" y="265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0" y="268"/>
                    <a:pt x="50" y="268"/>
                    <a:pt x="50" y="268"/>
                  </a:cubicBezTo>
                  <a:cubicBezTo>
                    <a:pt x="58" y="268"/>
                    <a:pt x="58" y="268"/>
                    <a:pt x="58" y="268"/>
                  </a:cubicBezTo>
                  <a:cubicBezTo>
                    <a:pt x="56" y="269"/>
                    <a:pt x="56" y="269"/>
                    <a:pt x="56" y="26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60" y="277"/>
                    <a:pt x="60" y="277"/>
                    <a:pt x="60" y="277"/>
                  </a:cubicBezTo>
                  <a:cubicBezTo>
                    <a:pt x="60" y="277"/>
                    <a:pt x="58" y="279"/>
                    <a:pt x="60" y="283"/>
                  </a:cubicBezTo>
                  <a:cubicBezTo>
                    <a:pt x="62" y="287"/>
                    <a:pt x="64" y="287"/>
                    <a:pt x="64" y="287"/>
                  </a:cubicBezTo>
                  <a:cubicBezTo>
                    <a:pt x="67" y="290"/>
                    <a:pt x="67" y="290"/>
                    <a:pt x="67" y="290"/>
                  </a:cubicBezTo>
                  <a:cubicBezTo>
                    <a:pt x="67" y="285"/>
                    <a:pt x="67" y="285"/>
                    <a:pt x="67" y="285"/>
                  </a:cubicBezTo>
                  <a:cubicBezTo>
                    <a:pt x="73" y="281"/>
                    <a:pt x="73" y="281"/>
                    <a:pt x="73" y="281"/>
                  </a:cubicBezTo>
                  <a:cubicBezTo>
                    <a:pt x="73" y="290"/>
                    <a:pt x="73" y="290"/>
                    <a:pt x="73" y="290"/>
                  </a:cubicBezTo>
                  <a:cubicBezTo>
                    <a:pt x="75" y="290"/>
                    <a:pt x="75" y="290"/>
                    <a:pt x="75" y="290"/>
                  </a:cubicBezTo>
                  <a:cubicBezTo>
                    <a:pt x="76" y="286"/>
                    <a:pt x="76" y="286"/>
                    <a:pt x="76" y="286"/>
                  </a:cubicBezTo>
                  <a:cubicBezTo>
                    <a:pt x="81" y="290"/>
                    <a:pt x="81" y="290"/>
                    <a:pt x="81" y="290"/>
                  </a:cubicBezTo>
                  <a:cubicBezTo>
                    <a:pt x="87" y="290"/>
                    <a:pt x="87" y="290"/>
                    <a:pt x="87" y="290"/>
                  </a:cubicBezTo>
                  <a:cubicBezTo>
                    <a:pt x="94" y="293"/>
                    <a:pt x="94" y="293"/>
                    <a:pt x="94" y="293"/>
                  </a:cubicBezTo>
                  <a:cubicBezTo>
                    <a:pt x="100" y="293"/>
                    <a:pt x="100" y="293"/>
                    <a:pt x="100" y="293"/>
                  </a:cubicBezTo>
                  <a:cubicBezTo>
                    <a:pt x="98" y="301"/>
                    <a:pt x="98" y="301"/>
                    <a:pt x="98" y="301"/>
                  </a:cubicBezTo>
                  <a:cubicBezTo>
                    <a:pt x="100" y="303"/>
                    <a:pt x="100" y="303"/>
                    <a:pt x="100" y="303"/>
                  </a:cubicBezTo>
                  <a:cubicBezTo>
                    <a:pt x="107" y="300"/>
                    <a:pt x="107" y="300"/>
                    <a:pt x="107" y="300"/>
                  </a:cubicBezTo>
                  <a:cubicBezTo>
                    <a:pt x="114" y="294"/>
                    <a:pt x="114" y="294"/>
                    <a:pt x="114" y="294"/>
                  </a:cubicBezTo>
                  <a:cubicBezTo>
                    <a:pt x="115" y="295"/>
                    <a:pt x="115" y="295"/>
                    <a:pt x="115" y="295"/>
                  </a:cubicBezTo>
                  <a:cubicBezTo>
                    <a:pt x="112" y="304"/>
                    <a:pt x="112" y="304"/>
                    <a:pt x="112" y="304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6" y="312"/>
                    <a:pt x="116" y="312"/>
                    <a:pt x="116" y="312"/>
                  </a:cubicBezTo>
                  <a:cubicBezTo>
                    <a:pt x="120" y="311"/>
                    <a:pt x="120" y="311"/>
                    <a:pt x="120" y="311"/>
                  </a:cubicBezTo>
                  <a:cubicBezTo>
                    <a:pt x="120" y="313"/>
                    <a:pt x="120" y="313"/>
                    <a:pt x="120" y="313"/>
                  </a:cubicBezTo>
                  <a:cubicBezTo>
                    <a:pt x="113" y="319"/>
                    <a:pt x="113" y="319"/>
                    <a:pt x="113" y="319"/>
                  </a:cubicBezTo>
                  <a:cubicBezTo>
                    <a:pt x="114" y="321"/>
                    <a:pt x="114" y="321"/>
                    <a:pt x="114" y="321"/>
                  </a:cubicBezTo>
                  <a:cubicBezTo>
                    <a:pt x="119" y="321"/>
                    <a:pt x="119" y="321"/>
                    <a:pt x="119" y="321"/>
                  </a:cubicBezTo>
                  <a:cubicBezTo>
                    <a:pt x="122" y="317"/>
                    <a:pt x="122" y="317"/>
                    <a:pt x="122" y="317"/>
                  </a:cubicBezTo>
                  <a:cubicBezTo>
                    <a:pt x="122" y="317"/>
                    <a:pt x="124" y="319"/>
                    <a:pt x="124" y="321"/>
                  </a:cubicBezTo>
                  <a:cubicBezTo>
                    <a:pt x="125" y="324"/>
                    <a:pt x="115" y="329"/>
                    <a:pt x="115" y="329"/>
                  </a:cubicBezTo>
                  <a:cubicBezTo>
                    <a:pt x="126" y="326"/>
                    <a:pt x="126" y="326"/>
                    <a:pt x="126" y="326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44" y="315"/>
                    <a:pt x="144" y="315"/>
                    <a:pt x="144" y="315"/>
                  </a:cubicBezTo>
                  <a:cubicBezTo>
                    <a:pt x="152" y="309"/>
                    <a:pt x="152" y="309"/>
                    <a:pt x="152" y="309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61" y="304"/>
                    <a:pt x="161" y="304"/>
                    <a:pt x="161" y="304"/>
                  </a:cubicBezTo>
                  <a:cubicBezTo>
                    <a:pt x="164" y="305"/>
                    <a:pt x="164" y="305"/>
                    <a:pt x="164" y="305"/>
                  </a:cubicBezTo>
                  <a:cubicBezTo>
                    <a:pt x="166" y="310"/>
                    <a:pt x="166" y="310"/>
                    <a:pt x="166" y="310"/>
                  </a:cubicBezTo>
                  <a:cubicBezTo>
                    <a:pt x="169" y="308"/>
                    <a:pt x="169" y="308"/>
                    <a:pt x="169" y="308"/>
                  </a:cubicBezTo>
                  <a:cubicBezTo>
                    <a:pt x="169" y="300"/>
                    <a:pt x="169" y="300"/>
                    <a:pt x="169" y="300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85" y="290"/>
                    <a:pt x="185" y="290"/>
                    <a:pt x="185" y="290"/>
                  </a:cubicBezTo>
                  <a:cubicBezTo>
                    <a:pt x="198" y="284"/>
                    <a:pt x="198" y="284"/>
                    <a:pt x="198" y="284"/>
                  </a:cubicBezTo>
                  <a:cubicBezTo>
                    <a:pt x="198" y="277"/>
                    <a:pt x="198" y="277"/>
                    <a:pt x="198" y="277"/>
                  </a:cubicBezTo>
                  <a:cubicBezTo>
                    <a:pt x="198" y="277"/>
                    <a:pt x="200" y="283"/>
                    <a:pt x="204" y="283"/>
                  </a:cubicBezTo>
                  <a:cubicBezTo>
                    <a:pt x="207" y="283"/>
                    <a:pt x="211" y="281"/>
                    <a:pt x="211" y="281"/>
                  </a:cubicBezTo>
                  <a:cubicBezTo>
                    <a:pt x="208" y="279"/>
                    <a:pt x="208" y="279"/>
                    <a:pt x="208" y="279"/>
                  </a:cubicBezTo>
                  <a:cubicBezTo>
                    <a:pt x="209" y="275"/>
                    <a:pt x="209" y="275"/>
                    <a:pt x="209" y="275"/>
                  </a:cubicBezTo>
                  <a:cubicBezTo>
                    <a:pt x="214" y="279"/>
                    <a:pt x="214" y="279"/>
                    <a:pt x="214" y="279"/>
                  </a:cubicBezTo>
                  <a:cubicBezTo>
                    <a:pt x="214" y="277"/>
                    <a:pt x="214" y="277"/>
                    <a:pt x="214" y="277"/>
                  </a:cubicBezTo>
                  <a:cubicBezTo>
                    <a:pt x="208" y="268"/>
                    <a:pt x="208" y="268"/>
                    <a:pt x="208" y="268"/>
                  </a:cubicBezTo>
                  <a:cubicBezTo>
                    <a:pt x="208" y="268"/>
                    <a:pt x="217" y="274"/>
                    <a:pt x="223" y="272"/>
                  </a:cubicBezTo>
                  <a:cubicBezTo>
                    <a:pt x="227" y="269"/>
                    <a:pt x="225" y="266"/>
                    <a:pt x="225" y="266"/>
                  </a:cubicBezTo>
                  <a:cubicBezTo>
                    <a:pt x="231" y="265"/>
                    <a:pt x="231" y="265"/>
                    <a:pt x="231" y="265"/>
                  </a:cubicBezTo>
                  <a:cubicBezTo>
                    <a:pt x="236" y="263"/>
                    <a:pt x="236" y="263"/>
                    <a:pt x="236" y="263"/>
                  </a:cubicBezTo>
                  <a:cubicBezTo>
                    <a:pt x="242" y="263"/>
                    <a:pt x="242" y="263"/>
                    <a:pt x="242" y="263"/>
                  </a:cubicBezTo>
                  <a:cubicBezTo>
                    <a:pt x="246" y="257"/>
                    <a:pt x="246" y="257"/>
                    <a:pt x="246" y="257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67" y="253"/>
                    <a:pt x="267" y="253"/>
                    <a:pt x="267" y="253"/>
                  </a:cubicBezTo>
                  <a:cubicBezTo>
                    <a:pt x="267" y="252"/>
                    <a:pt x="267" y="252"/>
                    <a:pt x="267" y="252"/>
                  </a:cubicBezTo>
                  <a:cubicBezTo>
                    <a:pt x="275" y="236"/>
                    <a:pt x="275" y="236"/>
                    <a:pt x="275" y="236"/>
                  </a:cubicBezTo>
                  <a:cubicBezTo>
                    <a:pt x="286" y="221"/>
                    <a:pt x="286" y="221"/>
                    <a:pt x="286" y="221"/>
                  </a:cubicBezTo>
                  <a:cubicBezTo>
                    <a:pt x="290" y="218"/>
                    <a:pt x="290" y="218"/>
                    <a:pt x="290" y="218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304" y="195"/>
                    <a:pt x="304" y="195"/>
                    <a:pt x="304" y="195"/>
                  </a:cubicBezTo>
                  <a:cubicBezTo>
                    <a:pt x="304" y="195"/>
                    <a:pt x="309" y="182"/>
                    <a:pt x="312" y="176"/>
                  </a:cubicBezTo>
                  <a:cubicBezTo>
                    <a:pt x="315" y="171"/>
                    <a:pt x="323" y="151"/>
                    <a:pt x="326" y="140"/>
                  </a:cubicBezTo>
                  <a:cubicBezTo>
                    <a:pt x="329" y="128"/>
                    <a:pt x="338" y="115"/>
                    <a:pt x="338" y="115"/>
                  </a:cubicBezTo>
                  <a:cubicBezTo>
                    <a:pt x="338" y="115"/>
                    <a:pt x="340" y="111"/>
                    <a:pt x="341" y="107"/>
                  </a:cubicBezTo>
                  <a:cubicBezTo>
                    <a:pt x="343" y="103"/>
                    <a:pt x="345" y="79"/>
                    <a:pt x="345" y="73"/>
                  </a:cubicBezTo>
                  <a:cubicBezTo>
                    <a:pt x="344" y="67"/>
                    <a:pt x="332" y="67"/>
                    <a:pt x="332" y="67"/>
                  </a:cubicBezTo>
                  <a:close/>
                  <a:moveTo>
                    <a:pt x="207" y="289"/>
                  </a:moveTo>
                  <a:cubicBezTo>
                    <a:pt x="210" y="285"/>
                    <a:pt x="210" y="285"/>
                    <a:pt x="210" y="285"/>
                  </a:cubicBezTo>
                  <a:cubicBezTo>
                    <a:pt x="206" y="286"/>
                    <a:pt x="206" y="286"/>
                    <a:pt x="206" y="286"/>
                  </a:cubicBezTo>
                  <a:lnTo>
                    <a:pt x="207" y="289"/>
                  </a:lnTo>
                  <a:close/>
                  <a:moveTo>
                    <a:pt x="223" y="273"/>
                  </a:moveTo>
                  <a:cubicBezTo>
                    <a:pt x="228" y="274"/>
                    <a:pt x="228" y="274"/>
                    <a:pt x="228" y="274"/>
                  </a:cubicBezTo>
                  <a:cubicBezTo>
                    <a:pt x="226" y="271"/>
                    <a:pt x="226" y="271"/>
                    <a:pt x="226" y="271"/>
                  </a:cubicBezTo>
                  <a:lnTo>
                    <a:pt x="223" y="273"/>
                  </a:lnTo>
                  <a:close/>
                  <a:moveTo>
                    <a:pt x="83" y="312"/>
                  </a:moveTo>
                  <a:cubicBezTo>
                    <a:pt x="85" y="311"/>
                    <a:pt x="85" y="311"/>
                    <a:pt x="85" y="311"/>
                  </a:cubicBezTo>
                  <a:cubicBezTo>
                    <a:pt x="85" y="309"/>
                    <a:pt x="85" y="309"/>
                    <a:pt x="85" y="309"/>
                  </a:cubicBezTo>
                  <a:cubicBezTo>
                    <a:pt x="82" y="309"/>
                    <a:pt x="82" y="309"/>
                    <a:pt x="82" y="309"/>
                  </a:cubicBezTo>
                  <a:lnTo>
                    <a:pt x="83" y="312"/>
                  </a:lnTo>
                  <a:close/>
                  <a:moveTo>
                    <a:pt x="74" y="294"/>
                  </a:moveTo>
                  <a:cubicBezTo>
                    <a:pt x="75" y="295"/>
                    <a:pt x="75" y="295"/>
                    <a:pt x="75" y="295"/>
                  </a:cubicBezTo>
                  <a:cubicBezTo>
                    <a:pt x="73" y="298"/>
                    <a:pt x="73" y="298"/>
                    <a:pt x="73" y="298"/>
                  </a:cubicBezTo>
                  <a:cubicBezTo>
                    <a:pt x="75" y="298"/>
                    <a:pt x="75" y="298"/>
                    <a:pt x="75" y="298"/>
                  </a:cubicBezTo>
                  <a:cubicBezTo>
                    <a:pt x="77" y="297"/>
                    <a:pt x="77" y="297"/>
                    <a:pt x="77" y="297"/>
                  </a:cubicBezTo>
                  <a:cubicBezTo>
                    <a:pt x="80" y="299"/>
                    <a:pt x="80" y="299"/>
                    <a:pt x="80" y="299"/>
                  </a:cubicBezTo>
                  <a:cubicBezTo>
                    <a:pt x="81" y="296"/>
                    <a:pt x="81" y="296"/>
                    <a:pt x="81" y="296"/>
                  </a:cubicBezTo>
                  <a:cubicBezTo>
                    <a:pt x="76" y="293"/>
                    <a:pt x="76" y="293"/>
                    <a:pt x="76" y="293"/>
                  </a:cubicBezTo>
                  <a:lnTo>
                    <a:pt x="74" y="294"/>
                  </a:lnTo>
                  <a:close/>
                  <a:moveTo>
                    <a:pt x="138" y="322"/>
                  </a:moveTo>
                  <a:cubicBezTo>
                    <a:pt x="138" y="319"/>
                    <a:pt x="138" y="319"/>
                    <a:pt x="138" y="319"/>
                  </a:cubicBezTo>
                  <a:cubicBezTo>
                    <a:pt x="133" y="321"/>
                    <a:pt x="133" y="321"/>
                    <a:pt x="133" y="321"/>
                  </a:cubicBezTo>
                  <a:lnTo>
                    <a:pt x="138" y="322"/>
                  </a:lnTo>
                  <a:close/>
                  <a:moveTo>
                    <a:pt x="112" y="299"/>
                  </a:moveTo>
                  <a:cubicBezTo>
                    <a:pt x="111" y="298"/>
                    <a:pt x="111" y="298"/>
                    <a:pt x="111" y="298"/>
                  </a:cubicBezTo>
                  <a:cubicBezTo>
                    <a:pt x="109" y="302"/>
                    <a:pt x="109" y="302"/>
                    <a:pt x="109" y="302"/>
                  </a:cubicBezTo>
                  <a:cubicBezTo>
                    <a:pt x="105" y="303"/>
                    <a:pt x="105" y="303"/>
                    <a:pt x="105" y="303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97" y="306"/>
                    <a:pt x="97" y="306"/>
                    <a:pt x="97" y="306"/>
                  </a:cubicBezTo>
                  <a:cubicBezTo>
                    <a:pt x="96" y="310"/>
                    <a:pt x="96" y="310"/>
                    <a:pt x="96" y="310"/>
                  </a:cubicBezTo>
                  <a:cubicBezTo>
                    <a:pt x="99" y="310"/>
                    <a:pt x="99" y="310"/>
                    <a:pt x="99" y="310"/>
                  </a:cubicBezTo>
                  <a:cubicBezTo>
                    <a:pt x="96" y="314"/>
                    <a:pt x="96" y="314"/>
                    <a:pt x="96" y="314"/>
                  </a:cubicBezTo>
                  <a:cubicBezTo>
                    <a:pt x="96" y="319"/>
                    <a:pt x="96" y="319"/>
                    <a:pt x="96" y="319"/>
                  </a:cubicBezTo>
                  <a:cubicBezTo>
                    <a:pt x="102" y="316"/>
                    <a:pt x="102" y="316"/>
                    <a:pt x="102" y="316"/>
                  </a:cubicBezTo>
                  <a:cubicBezTo>
                    <a:pt x="108" y="316"/>
                    <a:pt x="108" y="316"/>
                    <a:pt x="108" y="316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10" y="304"/>
                    <a:pt x="110" y="304"/>
                    <a:pt x="110" y="304"/>
                  </a:cubicBezTo>
                  <a:lnTo>
                    <a:pt x="112" y="299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Swede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876338" y="681942"/>
              <a:ext cx="875503" cy="1825864"/>
            </a:xfrm>
            <a:custGeom>
              <a:avLst/>
              <a:gdLst/>
              <a:ahLst/>
              <a:cxnLst>
                <a:cxn ang="0">
                  <a:pos x="256" y="378"/>
                </a:cxn>
                <a:cxn ang="0">
                  <a:pos x="261" y="377"/>
                </a:cxn>
                <a:cxn ang="0">
                  <a:pos x="253" y="368"/>
                </a:cxn>
                <a:cxn ang="0">
                  <a:pos x="249" y="381"/>
                </a:cxn>
                <a:cxn ang="0">
                  <a:pos x="13" y="478"/>
                </a:cxn>
                <a:cxn ang="0">
                  <a:pos x="207" y="521"/>
                </a:cxn>
                <a:cxn ang="0">
                  <a:pos x="190" y="569"/>
                </a:cxn>
                <a:cxn ang="0">
                  <a:pos x="206" y="544"/>
                </a:cxn>
                <a:cxn ang="0">
                  <a:pos x="211" y="514"/>
                </a:cxn>
                <a:cxn ang="0">
                  <a:pos x="16" y="460"/>
                </a:cxn>
                <a:cxn ang="0">
                  <a:pos x="238" y="400"/>
                </a:cxn>
                <a:cxn ang="0">
                  <a:pos x="248" y="494"/>
                </a:cxn>
                <a:cxn ang="0">
                  <a:pos x="255" y="526"/>
                </a:cxn>
                <a:cxn ang="0">
                  <a:pos x="261" y="520"/>
                </a:cxn>
                <a:cxn ang="0">
                  <a:pos x="271" y="483"/>
                </a:cxn>
                <a:cxn ang="0">
                  <a:pos x="232" y="414"/>
                </a:cxn>
                <a:cxn ang="0">
                  <a:pos x="200" y="444"/>
                </a:cxn>
                <a:cxn ang="0">
                  <a:pos x="217" y="169"/>
                </a:cxn>
                <a:cxn ang="0">
                  <a:pos x="246" y="317"/>
                </a:cxn>
                <a:cxn ang="0">
                  <a:pos x="246" y="315"/>
                </a:cxn>
                <a:cxn ang="0">
                  <a:pos x="286" y="459"/>
                </a:cxn>
                <a:cxn ang="0">
                  <a:pos x="206" y="230"/>
                </a:cxn>
                <a:cxn ang="0">
                  <a:pos x="253" y="319"/>
                </a:cxn>
                <a:cxn ang="0">
                  <a:pos x="286" y="463"/>
                </a:cxn>
                <a:cxn ang="0">
                  <a:pos x="293" y="83"/>
                </a:cxn>
                <a:cxn ang="0">
                  <a:pos x="308" y="33"/>
                </a:cxn>
                <a:cxn ang="0">
                  <a:pos x="301" y="0"/>
                </a:cxn>
                <a:cxn ang="0">
                  <a:pos x="89" y="85"/>
                </a:cxn>
                <a:cxn ang="0">
                  <a:pos x="33" y="177"/>
                </a:cxn>
                <a:cxn ang="0">
                  <a:pos x="41" y="286"/>
                </a:cxn>
                <a:cxn ang="0">
                  <a:pos x="25" y="391"/>
                </a:cxn>
                <a:cxn ang="0">
                  <a:pos x="5" y="444"/>
                </a:cxn>
                <a:cxn ang="0">
                  <a:pos x="10" y="458"/>
                </a:cxn>
                <a:cxn ang="0">
                  <a:pos x="17" y="494"/>
                </a:cxn>
                <a:cxn ang="0">
                  <a:pos x="37" y="527"/>
                </a:cxn>
                <a:cxn ang="0">
                  <a:pos x="64" y="573"/>
                </a:cxn>
                <a:cxn ang="0">
                  <a:pos x="48" y="592"/>
                </a:cxn>
                <a:cxn ang="0">
                  <a:pos x="66" y="642"/>
                </a:cxn>
                <a:cxn ang="0">
                  <a:pos x="118" y="628"/>
                </a:cxn>
                <a:cxn ang="0">
                  <a:pos x="172" y="595"/>
                </a:cxn>
                <a:cxn ang="0">
                  <a:pos x="191" y="523"/>
                </a:cxn>
                <a:cxn ang="0">
                  <a:pos x="191" y="473"/>
                </a:cxn>
                <a:cxn ang="0">
                  <a:pos x="192" y="440"/>
                </a:cxn>
                <a:cxn ang="0">
                  <a:pos x="204" y="423"/>
                </a:cxn>
                <a:cxn ang="0">
                  <a:pos x="226" y="396"/>
                </a:cxn>
                <a:cxn ang="0">
                  <a:pos x="245" y="387"/>
                </a:cxn>
                <a:cxn ang="0">
                  <a:pos x="267" y="348"/>
                </a:cxn>
                <a:cxn ang="0">
                  <a:pos x="242" y="318"/>
                </a:cxn>
                <a:cxn ang="0">
                  <a:pos x="213" y="296"/>
                </a:cxn>
                <a:cxn ang="0">
                  <a:pos x="193" y="250"/>
                </a:cxn>
                <a:cxn ang="0">
                  <a:pos x="197" y="212"/>
                </a:cxn>
                <a:cxn ang="0">
                  <a:pos x="196" y="180"/>
                </a:cxn>
                <a:cxn ang="0">
                  <a:pos x="212" y="166"/>
                </a:cxn>
                <a:cxn ang="0">
                  <a:pos x="225" y="145"/>
                </a:cxn>
                <a:cxn ang="0">
                  <a:pos x="233" y="123"/>
                </a:cxn>
                <a:cxn ang="0">
                  <a:pos x="261" y="111"/>
                </a:cxn>
                <a:cxn ang="0">
                  <a:pos x="278" y="88"/>
                </a:cxn>
                <a:cxn ang="0">
                  <a:pos x="299" y="50"/>
                </a:cxn>
              </a:cxnLst>
              <a:rect l="0" t="0" r="r" b="b"/>
              <a:pathLst>
                <a:path w="310" h="647">
                  <a:moveTo>
                    <a:pt x="266" y="358"/>
                  </a:moveTo>
                  <a:cubicBezTo>
                    <a:pt x="265" y="355"/>
                    <a:pt x="265" y="355"/>
                    <a:pt x="265" y="355"/>
                  </a:cubicBezTo>
                  <a:cubicBezTo>
                    <a:pt x="259" y="358"/>
                    <a:pt x="259" y="358"/>
                    <a:pt x="259" y="358"/>
                  </a:cubicBezTo>
                  <a:cubicBezTo>
                    <a:pt x="262" y="360"/>
                    <a:pt x="262" y="360"/>
                    <a:pt x="262" y="360"/>
                  </a:cubicBezTo>
                  <a:lnTo>
                    <a:pt x="266" y="358"/>
                  </a:lnTo>
                  <a:close/>
                  <a:moveTo>
                    <a:pt x="243" y="378"/>
                  </a:moveTo>
                  <a:cubicBezTo>
                    <a:pt x="255" y="379"/>
                    <a:pt x="255" y="379"/>
                    <a:pt x="255" y="379"/>
                  </a:cubicBezTo>
                  <a:cubicBezTo>
                    <a:pt x="256" y="378"/>
                    <a:pt x="256" y="378"/>
                    <a:pt x="256" y="378"/>
                  </a:cubicBezTo>
                  <a:cubicBezTo>
                    <a:pt x="254" y="374"/>
                    <a:pt x="254" y="374"/>
                    <a:pt x="254" y="374"/>
                  </a:cubicBezTo>
                  <a:cubicBezTo>
                    <a:pt x="251" y="373"/>
                    <a:pt x="251" y="373"/>
                    <a:pt x="251" y="373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9" y="376"/>
                    <a:pt x="249" y="376"/>
                    <a:pt x="249" y="376"/>
                  </a:cubicBezTo>
                  <a:cubicBezTo>
                    <a:pt x="243" y="376"/>
                    <a:pt x="243" y="376"/>
                    <a:pt x="243" y="376"/>
                  </a:cubicBezTo>
                  <a:lnTo>
                    <a:pt x="243" y="378"/>
                  </a:lnTo>
                  <a:close/>
                  <a:moveTo>
                    <a:pt x="258" y="378"/>
                  </a:moveTo>
                  <a:cubicBezTo>
                    <a:pt x="261" y="377"/>
                    <a:pt x="261" y="377"/>
                    <a:pt x="261" y="377"/>
                  </a:cubicBezTo>
                  <a:cubicBezTo>
                    <a:pt x="258" y="374"/>
                    <a:pt x="258" y="374"/>
                    <a:pt x="258" y="374"/>
                  </a:cubicBezTo>
                  <a:lnTo>
                    <a:pt x="258" y="378"/>
                  </a:lnTo>
                  <a:close/>
                  <a:moveTo>
                    <a:pt x="249" y="399"/>
                  </a:moveTo>
                  <a:cubicBezTo>
                    <a:pt x="253" y="392"/>
                    <a:pt x="253" y="392"/>
                    <a:pt x="253" y="392"/>
                  </a:cubicBezTo>
                  <a:cubicBezTo>
                    <a:pt x="250" y="391"/>
                    <a:pt x="250" y="391"/>
                    <a:pt x="250" y="391"/>
                  </a:cubicBezTo>
                  <a:cubicBezTo>
                    <a:pt x="246" y="397"/>
                    <a:pt x="246" y="397"/>
                    <a:pt x="246" y="397"/>
                  </a:cubicBezTo>
                  <a:lnTo>
                    <a:pt x="249" y="399"/>
                  </a:lnTo>
                  <a:close/>
                  <a:moveTo>
                    <a:pt x="253" y="368"/>
                  </a:moveTo>
                  <a:cubicBezTo>
                    <a:pt x="258" y="365"/>
                    <a:pt x="258" y="365"/>
                    <a:pt x="258" y="365"/>
                  </a:cubicBezTo>
                  <a:cubicBezTo>
                    <a:pt x="254" y="363"/>
                    <a:pt x="254" y="363"/>
                    <a:pt x="254" y="363"/>
                  </a:cubicBezTo>
                  <a:lnTo>
                    <a:pt x="253" y="368"/>
                  </a:lnTo>
                  <a:close/>
                  <a:moveTo>
                    <a:pt x="245" y="401"/>
                  </a:moveTo>
                  <a:cubicBezTo>
                    <a:pt x="244" y="404"/>
                    <a:pt x="245" y="406"/>
                    <a:pt x="247" y="404"/>
                  </a:cubicBezTo>
                  <a:cubicBezTo>
                    <a:pt x="249" y="401"/>
                    <a:pt x="246" y="399"/>
                    <a:pt x="245" y="401"/>
                  </a:cubicBezTo>
                  <a:close/>
                  <a:moveTo>
                    <a:pt x="251" y="380"/>
                  </a:moveTo>
                  <a:cubicBezTo>
                    <a:pt x="249" y="381"/>
                    <a:pt x="249" y="381"/>
                    <a:pt x="249" y="381"/>
                  </a:cubicBezTo>
                  <a:cubicBezTo>
                    <a:pt x="246" y="383"/>
                    <a:pt x="246" y="383"/>
                    <a:pt x="246" y="383"/>
                  </a:cubicBezTo>
                  <a:cubicBezTo>
                    <a:pt x="251" y="384"/>
                    <a:pt x="251" y="384"/>
                    <a:pt x="251" y="384"/>
                  </a:cubicBezTo>
                  <a:lnTo>
                    <a:pt x="251" y="380"/>
                  </a:lnTo>
                  <a:close/>
                  <a:moveTo>
                    <a:pt x="20" y="475"/>
                  </a:moveTo>
                  <a:cubicBezTo>
                    <a:pt x="19" y="471"/>
                    <a:pt x="19" y="471"/>
                    <a:pt x="19" y="471"/>
                  </a:cubicBezTo>
                  <a:cubicBezTo>
                    <a:pt x="11" y="473"/>
                    <a:pt x="11" y="473"/>
                    <a:pt x="11" y="473"/>
                  </a:cubicBezTo>
                  <a:cubicBezTo>
                    <a:pt x="13" y="476"/>
                    <a:pt x="13" y="476"/>
                    <a:pt x="13" y="476"/>
                  </a:cubicBezTo>
                  <a:cubicBezTo>
                    <a:pt x="13" y="478"/>
                    <a:pt x="13" y="478"/>
                    <a:pt x="13" y="478"/>
                  </a:cubicBezTo>
                  <a:cubicBezTo>
                    <a:pt x="16" y="478"/>
                    <a:pt x="16" y="478"/>
                    <a:pt x="16" y="478"/>
                  </a:cubicBezTo>
                  <a:cubicBezTo>
                    <a:pt x="17" y="475"/>
                    <a:pt x="17" y="475"/>
                    <a:pt x="17" y="475"/>
                  </a:cubicBezTo>
                  <a:lnTo>
                    <a:pt x="20" y="475"/>
                  </a:lnTo>
                  <a:close/>
                  <a:moveTo>
                    <a:pt x="211" y="508"/>
                  </a:moveTo>
                  <a:cubicBezTo>
                    <a:pt x="207" y="513"/>
                    <a:pt x="207" y="513"/>
                    <a:pt x="207" y="513"/>
                  </a:cubicBezTo>
                  <a:cubicBezTo>
                    <a:pt x="208" y="519"/>
                    <a:pt x="208" y="519"/>
                    <a:pt x="208" y="519"/>
                  </a:cubicBezTo>
                  <a:cubicBezTo>
                    <a:pt x="207" y="519"/>
                    <a:pt x="207" y="519"/>
                    <a:pt x="207" y="519"/>
                  </a:cubicBezTo>
                  <a:cubicBezTo>
                    <a:pt x="207" y="521"/>
                    <a:pt x="207" y="521"/>
                    <a:pt x="207" y="521"/>
                  </a:cubicBezTo>
                  <a:cubicBezTo>
                    <a:pt x="205" y="531"/>
                    <a:pt x="205" y="531"/>
                    <a:pt x="205" y="531"/>
                  </a:cubicBezTo>
                  <a:cubicBezTo>
                    <a:pt x="202" y="532"/>
                    <a:pt x="202" y="532"/>
                    <a:pt x="202" y="532"/>
                  </a:cubicBezTo>
                  <a:cubicBezTo>
                    <a:pt x="200" y="540"/>
                    <a:pt x="200" y="540"/>
                    <a:pt x="200" y="540"/>
                  </a:cubicBezTo>
                  <a:cubicBezTo>
                    <a:pt x="198" y="540"/>
                    <a:pt x="198" y="540"/>
                    <a:pt x="198" y="540"/>
                  </a:cubicBezTo>
                  <a:cubicBezTo>
                    <a:pt x="198" y="540"/>
                    <a:pt x="195" y="545"/>
                    <a:pt x="194" y="549"/>
                  </a:cubicBezTo>
                  <a:cubicBezTo>
                    <a:pt x="193" y="552"/>
                    <a:pt x="194" y="555"/>
                    <a:pt x="193" y="556"/>
                  </a:cubicBezTo>
                  <a:cubicBezTo>
                    <a:pt x="193" y="558"/>
                    <a:pt x="190" y="560"/>
                    <a:pt x="190" y="564"/>
                  </a:cubicBezTo>
                  <a:cubicBezTo>
                    <a:pt x="190" y="569"/>
                    <a:pt x="190" y="569"/>
                    <a:pt x="190" y="569"/>
                  </a:cubicBezTo>
                  <a:cubicBezTo>
                    <a:pt x="193" y="571"/>
                    <a:pt x="193" y="571"/>
                    <a:pt x="193" y="571"/>
                  </a:cubicBezTo>
                  <a:cubicBezTo>
                    <a:pt x="192" y="584"/>
                    <a:pt x="192" y="584"/>
                    <a:pt x="192" y="584"/>
                  </a:cubicBezTo>
                  <a:cubicBezTo>
                    <a:pt x="192" y="584"/>
                    <a:pt x="196" y="581"/>
                    <a:pt x="197" y="578"/>
                  </a:cubicBezTo>
                  <a:cubicBezTo>
                    <a:pt x="198" y="573"/>
                    <a:pt x="197" y="572"/>
                    <a:pt x="197" y="570"/>
                  </a:cubicBezTo>
                  <a:cubicBezTo>
                    <a:pt x="197" y="568"/>
                    <a:pt x="199" y="565"/>
                    <a:pt x="200" y="563"/>
                  </a:cubicBezTo>
                  <a:cubicBezTo>
                    <a:pt x="201" y="561"/>
                    <a:pt x="200" y="555"/>
                    <a:pt x="200" y="555"/>
                  </a:cubicBezTo>
                  <a:cubicBezTo>
                    <a:pt x="204" y="544"/>
                    <a:pt x="204" y="544"/>
                    <a:pt x="204" y="544"/>
                  </a:cubicBezTo>
                  <a:cubicBezTo>
                    <a:pt x="206" y="544"/>
                    <a:pt x="206" y="544"/>
                    <a:pt x="206" y="544"/>
                  </a:cubicBezTo>
                  <a:cubicBezTo>
                    <a:pt x="208" y="536"/>
                    <a:pt x="208" y="536"/>
                    <a:pt x="208" y="536"/>
                  </a:cubicBezTo>
                  <a:cubicBezTo>
                    <a:pt x="207" y="533"/>
                    <a:pt x="207" y="533"/>
                    <a:pt x="207" y="533"/>
                  </a:cubicBezTo>
                  <a:cubicBezTo>
                    <a:pt x="209" y="531"/>
                    <a:pt x="209" y="531"/>
                    <a:pt x="209" y="531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10" y="527"/>
                    <a:pt x="210" y="527"/>
                    <a:pt x="210" y="527"/>
                  </a:cubicBezTo>
                  <a:cubicBezTo>
                    <a:pt x="209" y="525"/>
                    <a:pt x="209" y="525"/>
                    <a:pt x="209" y="525"/>
                  </a:cubicBezTo>
                  <a:cubicBezTo>
                    <a:pt x="212" y="520"/>
                    <a:pt x="212" y="520"/>
                    <a:pt x="212" y="520"/>
                  </a:cubicBezTo>
                  <a:cubicBezTo>
                    <a:pt x="211" y="514"/>
                    <a:pt x="211" y="514"/>
                    <a:pt x="211" y="514"/>
                  </a:cubicBezTo>
                  <a:cubicBezTo>
                    <a:pt x="214" y="511"/>
                    <a:pt x="214" y="511"/>
                    <a:pt x="214" y="511"/>
                  </a:cubicBezTo>
                  <a:lnTo>
                    <a:pt x="211" y="508"/>
                  </a:lnTo>
                  <a:close/>
                  <a:moveTo>
                    <a:pt x="14" y="466"/>
                  </a:moveTo>
                  <a:cubicBezTo>
                    <a:pt x="21" y="467"/>
                    <a:pt x="21" y="467"/>
                    <a:pt x="21" y="467"/>
                  </a:cubicBezTo>
                  <a:cubicBezTo>
                    <a:pt x="22" y="460"/>
                    <a:pt x="22" y="460"/>
                    <a:pt x="22" y="460"/>
                  </a:cubicBezTo>
                  <a:cubicBezTo>
                    <a:pt x="19" y="457"/>
                    <a:pt x="19" y="457"/>
                    <a:pt x="19" y="457"/>
                  </a:cubicBezTo>
                  <a:cubicBezTo>
                    <a:pt x="17" y="460"/>
                    <a:pt x="17" y="460"/>
                    <a:pt x="17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8" y="468"/>
                    <a:pt x="8" y="468"/>
                    <a:pt x="8" y="468"/>
                  </a:cubicBezTo>
                  <a:cubicBezTo>
                    <a:pt x="14" y="469"/>
                    <a:pt x="14" y="469"/>
                    <a:pt x="14" y="469"/>
                  </a:cubicBezTo>
                  <a:lnTo>
                    <a:pt x="14" y="466"/>
                  </a:lnTo>
                  <a:close/>
                  <a:moveTo>
                    <a:pt x="238" y="400"/>
                  </a:moveTo>
                  <a:cubicBezTo>
                    <a:pt x="241" y="401"/>
                    <a:pt x="241" y="401"/>
                    <a:pt x="241" y="401"/>
                  </a:cubicBezTo>
                  <a:cubicBezTo>
                    <a:pt x="243" y="397"/>
                    <a:pt x="243" y="397"/>
                    <a:pt x="243" y="397"/>
                  </a:cubicBezTo>
                  <a:cubicBezTo>
                    <a:pt x="242" y="397"/>
                    <a:pt x="242" y="397"/>
                    <a:pt x="242" y="397"/>
                  </a:cubicBezTo>
                  <a:lnTo>
                    <a:pt x="238" y="400"/>
                  </a:lnTo>
                  <a:close/>
                  <a:moveTo>
                    <a:pt x="272" y="467"/>
                  </a:moveTo>
                  <a:cubicBezTo>
                    <a:pt x="270" y="472"/>
                    <a:pt x="270" y="472"/>
                    <a:pt x="270" y="472"/>
                  </a:cubicBezTo>
                  <a:cubicBezTo>
                    <a:pt x="270" y="467"/>
                    <a:pt x="270" y="467"/>
                    <a:pt x="270" y="467"/>
                  </a:cubicBezTo>
                  <a:cubicBezTo>
                    <a:pt x="270" y="467"/>
                    <a:pt x="267" y="467"/>
                    <a:pt x="266" y="468"/>
                  </a:cubicBezTo>
                  <a:cubicBezTo>
                    <a:pt x="264" y="469"/>
                    <a:pt x="263" y="472"/>
                    <a:pt x="263" y="472"/>
                  </a:cubicBezTo>
                  <a:cubicBezTo>
                    <a:pt x="263" y="472"/>
                    <a:pt x="262" y="471"/>
                    <a:pt x="259" y="474"/>
                  </a:cubicBezTo>
                  <a:cubicBezTo>
                    <a:pt x="257" y="477"/>
                    <a:pt x="253" y="487"/>
                    <a:pt x="253" y="487"/>
                  </a:cubicBezTo>
                  <a:cubicBezTo>
                    <a:pt x="253" y="487"/>
                    <a:pt x="248" y="489"/>
                    <a:pt x="248" y="494"/>
                  </a:cubicBezTo>
                  <a:cubicBezTo>
                    <a:pt x="247" y="501"/>
                    <a:pt x="253" y="501"/>
                    <a:pt x="253" y="505"/>
                  </a:cubicBezTo>
                  <a:cubicBezTo>
                    <a:pt x="251" y="510"/>
                    <a:pt x="249" y="511"/>
                    <a:pt x="249" y="511"/>
                  </a:cubicBezTo>
                  <a:cubicBezTo>
                    <a:pt x="251" y="513"/>
                    <a:pt x="251" y="513"/>
                    <a:pt x="251" y="513"/>
                  </a:cubicBezTo>
                  <a:cubicBezTo>
                    <a:pt x="251" y="520"/>
                    <a:pt x="251" y="520"/>
                    <a:pt x="251" y="520"/>
                  </a:cubicBezTo>
                  <a:cubicBezTo>
                    <a:pt x="254" y="521"/>
                    <a:pt x="254" y="521"/>
                    <a:pt x="254" y="521"/>
                  </a:cubicBezTo>
                  <a:cubicBezTo>
                    <a:pt x="254" y="524"/>
                    <a:pt x="254" y="524"/>
                    <a:pt x="254" y="524"/>
                  </a:cubicBezTo>
                  <a:cubicBezTo>
                    <a:pt x="254" y="524"/>
                    <a:pt x="257" y="523"/>
                    <a:pt x="257" y="524"/>
                  </a:cubicBezTo>
                  <a:cubicBezTo>
                    <a:pt x="257" y="525"/>
                    <a:pt x="255" y="526"/>
                    <a:pt x="255" y="526"/>
                  </a:cubicBezTo>
                  <a:cubicBezTo>
                    <a:pt x="255" y="530"/>
                    <a:pt x="255" y="530"/>
                    <a:pt x="255" y="530"/>
                  </a:cubicBezTo>
                  <a:cubicBezTo>
                    <a:pt x="255" y="531"/>
                    <a:pt x="253" y="535"/>
                    <a:pt x="253" y="535"/>
                  </a:cubicBezTo>
                  <a:cubicBezTo>
                    <a:pt x="258" y="533"/>
                    <a:pt x="258" y="533"/>
                    <a:pt x="258" y="533"/>
                  </a:cubicBezTo>
                  <a:cubicBezTo>
                    <a:pt x="261" y="527"/>
                    <a:pt x="261" y="527"/>
                    <a:pt x="261" y="527"/>
                  </a:cubicBezTo>
                  <a:cubicBezTo>
                    <a:pt x="260" y="527"/>
                    <a:pt x="260" y="527"/>
                    <a:pt x="260" y="527"/>
                  </a:cubicBezTo>
                  <a:cubicBezTo>
                    <a:pt x="261" y="522"/>
                    <a:pt x="261" y="522"/>
                    <a:pt x="261" y="522"/>
                  </a:cubicBezTo>
                  <a:cubicBezTo>
                    <a:pt x="262" y="520"/>
                    <a:pt x="262" y="520"/>
                    <a:pt x="262" y="520"/>
                  </a:cubicBezTo>
                  <a:cubicBezTo>
                    <a:pt x="261" y="520"/>
                    <a:pt x="261" y="520"/>
                    <a:pt x="261" y="520"/>
                  </a:cubicBezTo>
                  <a:cubicBezTo>
                    <a:pt x="266" y="514"/>
                    <a:pt x="266" y="514"/>
                    <a:pt x="266" y="514"/>
                  </a:cubicBezTo>
                  <a:cubicBezTo>
                    <a:pt x="271" y="511"/>
                    <a:pt x="271" y="511"/>
                    <a:pt x="271" y="511"/>
                  </a:cubicBezTo>
                  <a:cubicBezTo>
                    <a:pt x="271" y="506"/>
                    <a:pt x="271" y="506"/>
                    <a:pt x="271" y="506"/>
                  </a:cubicBezTo>
                  <a:cubicBezTo>
                    <a:pt x="277" y="498"/>
                    <a:pt x="277" y="498"/>
                    <a:pt x="277" y="498"/>
                  </a:cubicBezTo>
                  <a:cubicBezTo>
                    <a:pt x="274" y="498"/>
                    <a:pt x="274" y="498"/>
                    <a:pt x="274" y="498"/>
                  </a:cubicBezTo>
                  <a:cubicBezTo>
                    <a:pt x="271" y="494"/>
                    <a:pt x="271" y="494"/>
                    <a:pt x="271" y="494"/>
                  </a:cubicBezTo>
                  <a:cubicBezTo>
                    <a:pt x="271" y="494"/>
                    <a:pt x="273" y="491"/>
                    <a:pt x="274" y="488"/>
                  </a:cubicBezTo>
                  <a:cubicBezTo>
                    <a:pt x="274" y="486"/>
                    <a:pt x="271" y="483"/>
                    <a:pt x="271" y="483"/>
                  </a:cubicBezTo>
                  <a:cubicBezTo>
                    <a:pt x="272" y="478"/>
                    <a:pt x="272" y="478"/>
                    <a:pt x="272" y="478"/>
                  </a:cubicBezTo>
                  <a:cubicBezTo>
                    <a:pt x="277" y="479"/>
                    <a:pt x="277" y="479"/>
                    <a:pt x="277" y="479"/>
                  </a:cubicBezTo>
                  <a:cubicBezTo>
                    <a:pt x="281" y="472"/>
                    <a:pt x="281" y="472"/>
                    <a:pt x="281" y="472"/>
                  </a:cubicBezTo>
                  <a:cubicBezTo>
                    <a:pt x="278" y="466"/>
                    <a:pt x="278" y="466"/>
                    <a:pt x="278" y="466"/>
                  </a:cubicBezTo>
                  <a:lnTo>
                    <a:pt x="272" y="467"/>
                  </a:lnTo>
                  <a:close/>
                  <a:moveTo>
                    <a:pt x="229" y="410"/>
                  </a:moveTo>
                  <a:cubicBezTo>
                    <a:pt x="229" y="412"/>
                    <a:pt x="229" y="412"/>
                    <a:pt x="229" y="412"/>
                  </a:cubicBezTo>
                  <a:cubicBezTo>
                    <a:pt x="232" y="414"/>
                    <a:pt x="232" y="414"/>
                    <a:pt x="232" y="414"/>
                  </a:cubicBezTo>
                  <a:cubicBezTo>
                    <a:pt x="231" y="409"/>
                    <a:pt x="231" y="409"/>
                    <a:pt x="231" y="409"/>
                  </a:cubicBezTo>
                  <a:lnTo>
                    <a:pt x="229" y="410"/>
                  </a:lnTo>
                  <a:close/>
                  <a:moveTo>
                    <a:pt x="200" y="444"/>
                  </a:moveTo>
                  <a:cubicBezTo>
                    <a:pt x="199" y="441"/>
                    <a:pt x="199" y="441"/>
                    <a:pt x="199" y="441"/>
                  </a:cubicBezTo>
                  <a:cubicBezTo>
                    <a:pt x="198" y="441"/>
                    <a:pt x="198" y="441"/>
                    <a:pt x="198" y="441"/>
                  </a:cubicBezTo>
                  <a:cubicBezTo>
                    <a:pt x="198" y="447"/>
                    <a:pt x="198" y="447"/>
                    <a:pt x="198" y="447"/>
                  </a:cubicBezTo>
                  <a:cubicBezTo>
                    <a:pt x="202" y="446"/>
                    <a:pt x="202" y="446"/>
                    <a:pt x="202" y="446"/>
                  </a:cubicBezTo>
                  <a:lnTo>
                    <a:pt x="200" y="444"/>
                  </a:lnTo>
                  <a:close/>
                  <a:moveTo>
                    <a:pt x="195" y="488"/>
                  </a:moveTo>
                  <a:cubicBezTo>
                    <a:pt x="198" y="487"/>
                    <a:pt x="198" y="487"/>
                    <a:pt x="198" y="487"/>
                  </a:cubicBezTo>
                  <a:cubicBezTo>
                    <a:pt x="195" y="484"/>
                    <a:pt x="195" y="484"/>
                    <a:pt x="195" y="484"/>
                  </a:cubicBezTo>
                  <a:lnTo>
                    <a:pt x="195" y="488"/>
                  </a:lnTo>
                  <a:close/>
                  <a:moveTo>
                    <a:pt x="214" y="167"/>
                  </a:moveTo>
                  <a:cubicBezTo>
                    <a:pt x="214" y="169"/>
                    <a:pt x="214" y="169"/>
                    <a:pt x="214" y="169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7" y="169"/>
                    <a:pt x="217" y="169"/>
                    <a:pt x="217" y="169"/>
                  </a:cubicBezTo>
                  <a:cubicBezTo>
                    <a:pt x="216" y="167"/>
                    <a:pt x="216" y="167"/>
                    <a:pt x="216" y="167"/>
                  </a:cubicBezTo>
                  <a:lnTo>
                    <a:pt x="214" y="167"/>
                  </a:lnTo>
                  <a:close/>
                  <a:moveTo>
                    <a:pt x="234" y="140"/>
                  </a:moveTo>
                  <a:cubicBezTo>
                    <a:pt x="232" y="132"/>
                    <a:pt x="232" y="132"/>
                    <a:pt x="232" y="132"/>
                  </a:cubicBezTo>
                  <a:cubicBezTo>
                    <a:pt x="231" y="141"/>
                    <a:pt x="231" y="141"/>
                    <a:pt x="231" y="141"/>
                  </a:cubicBezTo>
                  <a:lnTo>
                    <a:pt x="234" y="140"/>
                  </a:lnTo>
                  <a:close/>
                  <a:moveTo>
                    <a:pt x="245" y="319"/>
                  </a:moveTo>
                  <a:cubicBezTo>
                    <a:pt x="248" y="320"/>
                    <a:pt x="249" y="317"/>
                    <a:pt x="246" y="317"/>
                  </a:cubicBezTo>
                  <a:cubicBezTo>
                    <a:pt x="243" y="317"/>
                    <a:pt x="243" y="319"/>
                    <a:pt x="245" y="319"/>
                  </a:cubicBezTo>
                  <a:close/>
                  <a:moveTo>
                    <a:pt x="246" y="310"/>
                  </a:moveTo>
                  <a:cubicBezTo>
                    <a:pt x="244" y="310"/>
                    <a:pt x="244" y="310"/>
                    <a:pt x="244" y="310"/>
                  </a:cubicBezTo>
                  <a:cubicBezTo>
                    <a:pt x="243" y="306"/>
                    <a:pt x="243" y="306"/>
                    <a:pt x="243" y="306"/>
                  </a:cubicBezTo>
                  <a:cubicBezTo>
                    <a:pt x="241" y="302"/>
                    <a:pt x="241" y="302"/>
                    <a:pt x="241" y="302"/>
                  </a:cubicBezTo>
                  <a:cubicBezTo>
                    <a:pt x="240" y="302"/>
                    <a:pt x="240" y="302"/>
                    <a:pt x="240" y="302"/>
                  </a:cubicBezTo>
                  <a:cubicBezTo>
                    <a:pt x="241" y="308"/>
                    <a:pt x="241" y="308"/>
                    <a:pt x="241" y="308"/>
                  </a:cubicBezTo>
                  <a:cubicBezTo>
                    <a:pt x="246" y="315"/>
                    <a:pt x="246" y="315"/>
                    <a:pt x="246" y="315"/>
                  </a:cubicBezTo>
                  <a:lnTo>
                    <a:pt x="246" y="310"/>
                  </a:lnTo>
                  <a:close/>
                  <a:moveTo>
                    <a:pt x="220" y="159"/>
                  </a:moveTo>
                  <a:cubicBezTo>
                    <a:pt x="215" y="160"/>
                    <a:pt x="214" y="163"/>
                    <a:pt x="216" y="164"/>
                  </a:cubicBezTo>
                  <a:cubicBezTo>
                    <a:pt x="220" y="166"/>
                    <a:pt x="223" y="159"/>
                    <a:pt x="220" y="159"/>
                  </a:cubicBezTo>
                  <a:close/>
                  <a:moveTo>
                    <a:pt x="281" y="460"/>
                  </a:moveTo>
                  <a:cubicBezTo>
                    <a:pt x="280" y="467"/>
                    <a:pt x="280" y="467"/>
                    <a:pt x="280" y="467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286" y="459"/>
                    <a:pt x="286" y="459"/>
                    <a:pt x="286" y="459"/>
                  </a:cubicBezTo>
                  <a:lnTo>
                    <a:pt x="281" y="460"/>
                  </a:lnTo>
                  <a:close/>
                  <a:moveTo>
                    <a:pt x="199" y="187"/>
                  </a:moveTo>
                  <a:cubicBezTo>
                    <a:pt x="201" y="187"/>
                    <a:pt x="201" y="187"/>
                    <a:pt x="201" y="187"/>
                  </a:cubicBezTo>
                  <a:cubicBezTo>
                    <a:pt x="200" y="180"/>
                    <a:pt x="200" y="180"/>
                    <a:pt x="200" y="180"/>
                  </a:cubicBezTo>
                  <a:cubicBezTo>
                    <a:pt x="198" y="179"/>
                    <a:pt x="198" y="179"/>
                    <a:pt x="198" y="179"/>
                  </a:cubicBezTo>
                  <a:lnTo>
                    <a:pt x="199" y="187"/>
                  </a:lnTo>
                  <a:close/>
                  <a:moveTo>
                    <a:pt x="205" y="233"/>
                  </a:moveTo>
                  <a:cubicBezTo>
                    <a:pt x="206" y="230"/>
                    <a:pt x="206" y="230"/>
                    <a:pt x="206" y="230"/>
                  </a:cubicBezTo>
                  <a:cubicBezTo>
                    <a:pt x="202" y="227"/>
                    <a:pt x="202" y="227"/>
                    <a:pt x="202" y="227"/>
                  </a:cubicBezTo>
                  <a:cubicBezTo>
                    <a:pt x="200" y="230"/>
                    <a:pt x="200" y="230"/>
                    <a:pt x="200" y="230"/>
                  </a:cubicBezTo>
                  <a:lnTo>
                    <a:pt x="205" y="233"/>
                  </a:lnTo>
                  <a:close/>
                  <a:moveTo>
                    <a:pt x="266" y="346"/>
                  </a:moveTo>
                  <a:cubicBezTo>
                    <a:pt x="263" y="344"/>
                    <a:pt x="263" y="344"/>
                    <a:pt x="263" y="344"/>
                  </a:cubicBezTo>
                  <a:cubicBezTo>
                    <a:pt x="261" y="346"/>
                    <a:pt x="261" y="346"/>
                    <a:pt x="261" y="346"/>
                  </a:cubicBezTo>
                  <a:lnTo>
                    <a:pt x="266" y="346"/>
                  </a:lnTo>
                  <a:close/>
                  <a:moveTo>
                    <a:pt x="253" y="319"/>
                  </a:moveTo>
                  <a:cubicBezTo>
                    <a:pt x="250" y="319"/>
                    <a:pt x="250" y="322"/>
                    <a:pt x="253" y="324"/>
                  </a:cubicBezTo>
                  <a:cubicBezTo>
                    <a:pt x="255" y="325"/>
                    <a:pt x="256" y="324"/>
                    <a:pt x="256" y="321"/>
                  </a:cubicBezTo>
                  <a:cubicBezTo>
                    <a:pt x="255" y="319"/>
                    <a:pt x="254" y="319"/>
                    <a:pt x="253" y="319"/>
                  </a:cubicBezTo>
                  <a:close/>
                  <a:moveTo>
                    <a:pt x="286" y="463"/>
                  </a:moveTo>
                  <a:cubicBezTo>
                    <a:pt x="290" y="463"/>
                    <a:pt x="290" y="463"/>
                    <a:pt x="290" y="463"/>
                  </a:cubicBezTo>
                  <a:cubicBezTo>
                    <a:pt x="291" y="460"/>
                    <a:pt x="291" y="460"/>
                    <a:pt x="291" y="460"/>
                  </a:cubicBezTo>
                  <a:cubicBezTo>
                    <a:pt x="288" y="460"/>
                    <a:pt x="288" y="460"/>
                    <a:pt x="288" y="460"/>
                  </a:cubicBezTo>
                  <a:lnTo>
                    <a:pt x="286" y="463"/>
                  </a:lnTo>
                  <a:close/>
                  <a:moveTo>
                    <a:pt x="282" y="439"/>
                  </a:moveTo>
                  <a:cubicBezTo>
                    <a:pt x="287" y="436"/>
                    <a:pt x="287" y="436"/>
                    <a:pt x="287" y="436"/>
                  </a:cubicBezTo>
                  <a:cubicBezTo>
                    <a:pt x="280" y="432"/>
                    <a:pt x="280" y="432"/>
                    <a:pt x="280" y="432"/>
                  </a:cubicBezTo>
                  <a:cubicBezTo>
                    <a:pt x="281" y="437"/>
                    <a:pt x="281" y="437"/>
                    <a:pt x="281" y="437"/>
                  </a:cubicBezTo>
                  <a:lnTo>
                    <a:pt x="282" y="439"/>
                  </a:lnTo>
                  <a:close/>
                  <a:moveTo>
                    <a:pt x="293" y="83"/>
                  </a:moveTo>
                  <a:cubicBezTo>
                    <a:pt x="290" y="88"/>
                    <a:pt x="294" y="84"/>
                    <a:pt x="294" y="84"/>
                  </a:cubicBezTo>
                  <a:cubicBezTo>
                    <a:pt x="296" y="81"/>
                    <a:pt x="295" y="79"/>
                    <a:pt x="293" y="83"/>
                  </a:cubicBezTo>
                  <a:close/>
                  <a:moveTo>
                    <a:pt x="294" y="88"/>
                  </a:moveTo>
                  <a:cubicBezTo>
                    <a:pt x="294" y="91"/>
                    <a:pt x="294" y="91"/>
                    <a:pt x="294" y="91"/>
                  </a:cubicBezTo>
                  <a:cubicBezTo>
                    <a:pt x="297" y="90"/>
                    <a:pt x="297" y="90"/>
                    <a:pt x="297" y="90"/>
                  </a:cubicBezTo>
                  <a:cubicBezTo>
                    <a:pt x="296" y="84"/>
                    <a:pt x="296" y="84"/>
                    <a:pt x="296" y="84"/>
                  </a:cubicBezTo>
                  <a:lnTo>
                    <a:pt x="294" y="88"/>
                  </a:lnTo>
                  <a:close/>
                  <a:moveTo>
                    <a:pt x="306" y="36"/>
                  </a:moveTo>
                  <a:cubicBezTo>
                    <a:pt x="304" y="34"/>
                    <a:pt x="304" y="34"/>
                    <a:pt x="304" y="34"/>
                  </a:cubicBezTo>
                  <a:cubicBezTo>
                    <a:pt x="308" y="33"/>
                    <a:pt x="308" y="33"/>
                    <a:pt x="308" y="33"/>
                  </a:cubicBezTo>
                  <a:cubicBezTo>
                    <a:pt x="309" y="31"/>
                    <a:pt x="309" y="31"/>
                    <a:pt x="309" y="31"/>
                  </a:cubicBezTo>
                  <a:cubicBezTo>
                    <a:pt x="299" y="31"/>
                    <a:pt x="299" y="31"/>
                    <a:pt x="299" y="31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3" y="17"/>
                    <a:pt x="293" y="17"/>
                    <a:pt x="293" y="17"/>
                  </a:cubicBezTo>
                  <a:cubicBezTo>
                    <a:pt x="295" y="9"/>
                    <a:pt x="295" y="9"/>
                    <a:pt x="295" y="9"/>
                  </a:cubicBezTo>
                  <a:cubicBezTo>
                    <a:pt x="298" y="7"/>
                    <a:pt x="298" y="7"/>
                    <a:pt x="298" y="7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9" y="85"/>
                    <a:pt x="69" y="79"/>
                    <a:pt x="59" y="82"/>
                  </a:cubicBezTo>
                  <a:cubicBezTo>
                    <a:pt x="47" y="85"/>
                    <a:pt x="35" y="113"/>
                    <a:pt x="35" y="113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0" y="133"/>
                    <a:pt x="30" y="133"/>
                    <a:pt x="30" y="133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41" y="200"/>
                    <a:pt x="41" y="200"/>
                    <a:pt x="41" y="200"/>
                  </a:cubicBezTo>
                  <a:cubicBezTo>
                    <a:pt x="35" y="235"/>
                    <a:pt x="35" y="235"/>
                    <a:pt x="35" y="235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50" y="248"/>
                    <a:pt x="54" y="251"/>
                  </a:cubicBezTo>
                  <a:cubicBezTo>
                    <a:pt x="58" y="255"/>
                    <a:pt x="59" y="259"/>
                    <a:pt x="55" y="271"/>
                  </a:cubicBezTo>
                  <a:cubicBezTo>
                    <a:pt x="53" y="283"/>
                    <a:pt x="45" y="277"/>
                    <a:pt x="45" y="27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41" y="286"/>
                    <a:pt x="41" y="286"/>
                    <a:pt x="41" y="286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3" y="295"/>
                    <a:pt x="49" y="309"/>
                    <a:pt x="51" y="316"/>
                  </a:cubicBezTo>
                  <a:cubicBezTo>
                    <a:pt x="54" y="324"/>
                    <a:pt x="46" y="320"/>
                    <a:pt x="45" y="325"/>
                  </a:cubicBezTo>
                  <a:cubicBezTo>
                    <a:pt x="44" y="329"/>
                    <a:pt x="48" y="332"/>
                    <a:pt x="45" y="345"/>
                  </a:cubicBezTo>
                  <a:cubicBezTo>
                    <a:pt x="41" y="357"/>
                    <a:pt x="30" y="351"/>
                    <a:pt x="26" y="355"/>
                  </a:cubicBezTo>
                  <a:cubicBezTo>
                    <a:pt x="21" y="358"/>
                    <a:pt x="28" y="359"/>
                    <a:pt x="27" y="364"/>
                  </a:cubicBezTo>
                  <a:cubicBezTo>
                    <a:pt x="27" y="368"/>
                    <a:pt x="21" y="367"/>
                    <a:pt x="19" y="371"/>
                  </a:cubicBezTo>
                  <a:cubicBezTo>
                    <a:pt x="16" y="373"/>
                    <a:pt x="25" y="391"/>
                    <a:pt x="25" y="391"/>
                  </a:cubicBezTo>
                  <a:cubicBezTo>
                    <a:pt x="25" y="391"/>
                    <a:pt x="21" y="399"/>
                    <a:pt x="19" y="406"/>
                  </a:cubicBezTo>
                  <a:cubicBezTo>
                    <a:pt x="17" y="413"/>
                    <a:pt x="16" y="419"/>
                    <a:pt x="12" y="419"/>
                  </a:cubicBezTo>
                  <a:cubicBezTo>
                    <a:pt x="8" y="419"/>
                    <a:pt x="11" y="410"/>
                    <a:pt x="10" y="405"/>
                  </a:cubicBezTo>
                  <a:cubicBezTo>
                    <a:pt x="9" y="400"/>
                    <a:pt x="1" y="405"/>
                    <a:pt x="1" y="405"/>
                  </a:cubicBezTo>
                  <a:cubicBezTo>
                    <a:pt x="0" y="412"/>
                    <a:pt x="0" y="412"/>
                    <a:pt x="0" y="412"/>
                  </a:cubicBezTo>
                  <a:cubicBezTo>
                    <a:pt x="0" y="412"/>
                    <a:pt x="3" y="416"/>
                    <a:pt x="3" y="421"/>
                  </a:cubicBezTo>
                  <a:cubicBezTo>
                    <a:pt x="3" y="424"/>
                    <a:pt x="0" y="427"/>
                    <a:pt x="0" y="427"/>
                  </a:cubicBezTo>
                  <a:cubicBezTo>
                    <a:pt x="0" y="427"/>
                    <a:pt x="5" y="441"/>
                    <a:pt x="5" y="444"/>
                  </a:cubicBezTo>
                  <a:cubicBezTo>
                    <a:pt x="5" y="447"/>
                    <a:pt x="1" y="447"/>
                    <a:pt x="1" y="447"/>
                  </a:cubicBezTo>
                  <a:cubicBezTo>
                    <a:pt x="2" y="451"/>
                    <a:pt x="2" y="451"/>
                    <a:pt x="2" y="451"/>
                  </a:cubicBezTo>
                  <a:cubicBezTo>
                    <a:pt x="2" y="451"/>
                    <a:pt x="6" y="448"/>
                    <a:pt x="9" y="450"/>
                  </a:cubicBezTo>
                  <a:cubicBezTo>
                    <a:pt x="10" y="451"/>
                    <a:pt x="9" y="455"/>
                    <a:pt x="9" y="455"/>
                  </a:cubicBezTo>
                  <a:cubicBezTo>
                    <a:pt x="11" y="455"/>
                    <a:pt x="11" y="455"/>
                    <a:pt x="11" y="455"/>
                  </a:cubicBezTo>
                  <a:cubicBezTo>
                    <a:pt x="14" y="445"/>
                    <a:pt x="14" y="445"/>
                    <a:pt x="14" y="445"/>
                  </a:cubicBezTo>
                  <a:cubicBezTo>
                    <a:pt x="17" y="448"/>
                    <a:pt x="17" y="448"/>
                    <a:pt x="17" y="44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60"/>
                    <a:pt x="10" y="460"/>
                    <a:pt x="10" y="460"/>
                  </a:cubicBezTo>
                  <a:cubicBezTo>
                    <a:pt x="25" y="452"/>
                    <a:pt x="25" y="452"/>
                    <a:pt x="25" y="452"/>
                  </a:cubicBezTo>
                  <a:cubicBezTo>
                    <a:pt x="22" y="457"/>
                    <a:pt x="22" y="457"/>
                    <a:pt x="22" y="457"/>
                  </a:cubicBezTo>
                  <a:cubicBezTo>
                    <a:pt x="25" y="461"/>
                    <a:pt x="25" y="461"/>
                    <a:pt x="25" y="461"/>
                  </a:cubicBezTo>
                  <a:cubicBezTo>
                    <a:pt x="21" y="478"/>
                    <a:pt x="21" y="478"/>
                    <a:pt x="21" y="478"/>
                  </a:cubicBezTo>
                  <a:cubicBezTo>
                    <a:pt x="18" y="485"/>
                    <a:pt x="18" y="485"/>
                    <a:pt x="18" y="485"/>
                  </a:cubicBezTo>
                  <a:cubicBezTo>
                    <a:pt x="22" y="489"/>
                    <a:pt x="22" y="489"/>
                    <a:pt x="22" y="489"/>
                  </a:cubicBezTo>
                  <a:cubicBezTo>
                    <a:pt x="17" y="494"/>
                    <a:pt x="17" y="494"/>
                    <a:pt x="17" y="494"/>
                  </a:cubicBezTo>
                  <a:cubicBezTo>
                    <a:pt x="22" y="494"/>
                    <a:pt x="22" y="494"/>
                    <a:pt x="22" y="494"/>
                  </a:cubicBezTo>
                  <a:cubicBezTo>
                    <a:pt x="24" y="494"/>
                    <a:pt x="26" y="502"/>
                    <a:pt x="26" y="505"/>
                  </a:cubicBezTo>
                  <a:cubicBezTo>
                    <a:pt x="26" y="509"/>
                    <a:pt x="27" y="516"/>
                    <a:pt x="29" y="516"/>
                  </a:cubicBezTo>
                  <a:cubicBezTo>
                    <a:pt x="31" y="516"/>
                    <a:pt x="32" y="509"/>
                    <a:pt x="32" y="509"/>
                  </a:cubicBezTo>
                  <a:cubicBezTo>
                    <a:pt x="32" y="518"/>
                    <a:pt x="32" y="518"/>
                    <a:pt x="32" y="518"/>
                  </a:cubicBezTo>
                  <a:cubicBezTo>
                    <a:pt x="34" y="519"/>
                    <a:pt x="34" y="519"/>
                    <a:pt x="34" y="519"/>
                  </a:cubicBezTo>
                  <a:cubicBezTo>
                    <a:pt x="32" y="525"/>
                    <a:pt x="32" y="525"/>
                    <a:pt x="32" y="525"/>
                  </a:cubicBezTo>
                  <a:cubicBezTo>
                    <a:pt x="37" y="527"/>
                    <a:pt x="37" y="527"/>
                    <a:pt x="37" y="527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42" y="539"/>
                    <a:pt x="42" y="539"/>
                    <a:pt x="42" y="539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8" y="552"/>
                    <a:pt x="48" y="552"/>
                    <a:pt x="48" y="552"/>
                  </a:cubicBezTo>
                  <a:cubicBezTo>
                    <a:pt x="50" y="551"/>
                    <a:pt x="50" y="551"/>
                    <a:pt x="50" y="551"/>
                  </a:cubicBezTo>
                  <a:cubicBezTo>
                    <a:pt x="50" y="551"/>
                    <a:pt x="52" y="563"/>
                    <a:pt x="55" y="564"/>
                  </a:cubicBezTo>
                  <a:cubicBezTo>
                    <a:pt x="60" y="566"/>
                    <a:pt x="61" y="562"/>
                    <a:pt x="61" y="562"/>
                  </a:cubicBezTo>
                  <a:cubicBezTo>
                    <a:pt x="61" y="562"/>
                    <a:pt x="64" y="570"/>
                    <a:pt x="64" y="573"/>
                  </a:cubicBezTo>
                  <a:cubicBezTo>
                    <a:pt x="64" y="577"/>
                    <a:pt x="58" y="576"/>
                    <a:pt x="58" y="576"/>
                  </a:cubicBezTo>
                  <a:cubicBezTo>
                    <a:pt x="58" y="576"/>
                    <a:pt x="57" y="571"/>
                    <a:pt x="52" y="574"/>
                  </a:cubicBezTo>
                  <a:cubicBezTo>
                    <a:pt x="48" y="578"/>
                    <a:pt x="58" y="582"/>
                    <a:pt x="58" y="582"/>
                  </a:cubicBezTo>
                  <a:cubicBezTo>
                    <a:pt x="58" y="582"/>
                    <a:pt x="61" y="587"/>
                    <a:pt x="59" y="589"/>
                  </a:cubicBezTo>
                  <a:cubicBezTo>
                    <a:pt x="55" y="592"/>
                    <a:pt x="51" y="586"/>
                    <a:pt x="49" y="585"/>
                  </a:cubicBezTo>
                  <a:cubicBezTo>
                    <a:pt x="47" y="583"/>
                    <a:pt x="44" y="583"/>
                    <a:pt x="43" y="584"/>
                  </a:cubicBezTo>
                  <a:cubicBezTo>
                    <a:pt x="42" y="585"/>
                    <a:pt x="47" y="587"/>
                    <a:pt x="47" y="587"/>
                  </a:cubicBezTo>
                  <a:cubicBezTo>
                    <a:pt x="48" y="592"/>
                    <a:pt x="48" y="592"/>
                    <a:pt x="48" y="592"/>
                  </a:cubicBezTo>
                  <a:cubicBezTo>
                    <a:pt x="48" y="592"/>
                    <a:pt x="54" y="600"/>
                    <a:pt x="58" y="604"/>
                  </a:cubicBezTo>
                  <a:cubicBezTo>
                    <a:pt x="61" y="609"/>
                    <a:pt x="61" y="613"/>
                    <a:pt x="61" y="613"/>
                  </a:cubicBezTo>
                  <a:cubicBezTo>
                    <a:pt x="65" y="614"/>
                    <a:pt x="65" y="614"/>
                    <a:pt x="65" y="614"/>
                  </a:cubicBezTo>
                  <a:cubicBezTo>
                    <a:pt x="64" y="619"/>
                    <a:pt x="64" y="619"/>
                    <a:pt x="64" y="619"/>
                  </a:cubicBezTo>
                  <a:cubicBezTo>
                    <a:pt x="64" y="619"/>
                    <a:pt x="67" y="619"/>
                    <a:pt x="69" y="625"/>
                  </a:cubicBezTo>
                  <a:cubicBezTo>
                    <a:pt x="71" y="629"/>
                    <a:pt x="64" y="630"/>
                    <a:pt x="64" y="630"/>
                  </a:cubicBezTo>
                  <a:cubicBezTo>
                    <a:pt x="64" y="636"/>
                    <a:pt x="64" y="636"/>
                    <a:pt x="64" y="636"/>
                  </a:cubicBezTo>
                  <a:cubicBezTo>
                    <a:pt x="64" y="636"/>
                    <a:pt x="67" y="639"/>
                    <a:pt x="66" y="642"/>
                  </a:cubicBezTo>
                  <a:cubicBezTo>
                    <a:pt x="65" y="644"/>
                    <a:pt x="62" y="641"/>
                    <a:pt x="62" y="641"/>
                  </a:cubicBezTo>
                  <a:cubicBezTo>
                    <a:pt x="61" y="645"/>
                    <a:pt x="61" y="645"/>
                    <a:pt x="61" y="645"/>
                  </a:cubicBezTo>
                  <a:cubicBezTo>
                    <a:pt x="65" y="644"/>
                    <a:pt x="65" y="644"/>
                    <a:pt x="65" y="644"/>
                  </a:cubicBezTo>
                  <a:cubicBezTo>
                    <a:pt x="65" y="644"/>
                    <a:pt x="78" y="647"/>
                    <a:pt x="82" y="647"/>
                  </a:cubicBezTo>
                  <a:cubicBezTo>
                    <a:pt x="85" y="647"/>
                    <a:pt x="91" y="643"/>
                    <a:pt x="97" y="641"/>
                  </a:cubicBezTo>
                  <a:cubicBezTo>
                    <a:pt x="103" y="639"/>
                    <a:pt x="106" y="643"/>
                    <a:pt x="106" y="643"/>
                  </a:cubicBezTo>
                  <a:cubicBezTo>
                    <a:pt x="112" y="642"/>
                    <a:pt x="112" y="642"/>
                    <a:pt x="112" y="642"/>
                  </a:cubicBezTo>
                  <a:cubicBezTo>
                    <a:pt x="112" y="642"/>
                    <a:pt x="117" y="633"/>
                    <a:pt x="118" y="628"/>
                  </a:cubicBezTo>
                  <a:cubicBezTo>
                    <a:pt x="119" y="624"/>
                    <a:pt x="111" y="623"/>
                    <a:pt x="111" y="617"/>
                  </a:cubicBezTo>
                  <a:cubicBezTo>
                    <a:pt x="111" y="613"/>
                    <a:pt x="118" y="602"/>
                    <a:pt x="120" y="600"/>
                  </a:cubicBezTo>
                  <a:cubicBezTo>
                    <a:pt x="123" y="599"/>
                    <a:pt x="129" y="603"/>
                    <a:pt x="131" y="602"/>
                  </a:cubicBezTo>
                  <a:cubicBezTo>
                    <a:pt x="133" y="600"/>
                    <a:pt x="129" y="592"/>
                    <a:pt x="129" y="592"/>
                  </a:cubicBezTo>
                  <a:cubicBezTo>
                    <a:pt x="147" y="590"/>
                    <a:pt x="147" y="590"/>
                    <a:pt x="147" y="590"/>
                  </a:cubicBezTo>
                  <a:cubicBezTo>
                    <a:pt x="155" y="592"/>
                    <a:pt x="155" y="592"/>
                    <a:pt x="155" y="592"/>
                  </a:cubicBezTo>
                  <a:cubicBezTo>
                    <a:pt x="161" y="587"/>
                    <a:pt x="161" y="587"/>
                    <a:pt x="161" y="587"/>
                  </a:cubicBezTo>
                  <a:cubicBezTo>
                    <a:pt x="172" y="595"/>
                    <a:pt x="172" y="595"/>
                    <a:pt x="172" y="595"/>
                  </a:cubicBezTo>
                  <a:cubicBezTo>
                    <a:pt x="172" y="595"/>
                    <a:pt x="176" y="586"/>
                    <a:pt x="178" y="585"/>
                  </a:cubicBezTo>
                  <a:cubicBezTo>
                    <a:pt x="179" y="583"/>
                    <a:pt x="181" y="568"/>
                    <a:pt x="181" y="568"/>
                  </a:cubicBezTo>
                  <a:cubicBezTo>
                    <a:pt x="184" y="558"/>
                    <a:pt x="184" y="558"/>
                    <a:pt x="184" y="558"/>
                  </a:cubicBezTo>
                  <a:cubicBezTo>
                    <a:pt x="188" y="555"/>
                    <a:pt x="188" y="555"/>
                    <a:pt x="188" y="555"/>
                  </a:cubicBezTo>
                  <a:cubicBezTo>
                    <a:pt x="192" y="539"/>
                    <a:pt x="192" y="539"/>
                    <a:pt x="192" y="539"/>
                  </a:cubicBezTo>
                  <a:cubicBezTo>
                    <a:pt x="190" y="533"/>
                    <a:pt x="190" y="533"/>
                    <a:pt x="190" y="533"/>
                  </a:cubicBezTo>
                  <a:cubicBezTo>
                    <a:pt x="190" y="533"/>
                    <a:pt x="193" y="532"/>
                    <a:pt x="194" y="529"/>
                  </a:cubicBezTo>
                  <a:cubicBezTo>
                    <a:pt x="195" y="525"/>
                    <a:pt x="191" y="523"/>
                    <a:pt x="191" y="523"/>
                  </a:cubicBezTo>
                  <a:cubicBezTo>
                    <a:pt x="192" y="509"/>
                    <a:pt x="192" y="509"/>
                    <a:pt x="192" y="509"/>
                  </a:cubicBezTo>
                  <a:cubicBezTo>
                    <a:pt x="192" y="509"/>
                    <a:pt x="195" y="510"/>
                    <a:pt x="197" y="504"/>
                  </a:cubicBezTo>
                  <a:cubicBezTo>
                    <a:pt x="200" y="499"/>
                    <a:pt x="191" y="494"/>
                    <a:pt x="191" y="494"/>
                  </a:cubicBezTo>
                  <a:cubicBezTo>
                    <a:pt x="193" y="492"/>
                    <a:pt x="193" y="492"/>
                    <a:pt x="193" y="492"/>
                  </a:cubicBezTo>
                  <a:cubicBezTo>
                    <a:pt x="194" y="483"/>
                    <a:pt x="194" y="483"/>
                    <a:pt x="194" y="483"/>
                  </a:cubicBezTo>
                  <a:cubicBezTo>
                    <a:pt x="192" y="476"/>
                    <a:pt x="192" y="476"/>
                    <a:pt x="192" y="476"/>
                  </a:cubicBezTo>
                  <a:cubicBezTo>
                    <a:pt x="188" y="476"/>
                    <a:pt x="188" y="476"/>
                    <a:pt x="188" y="476"/>
                  </a:cubicBezTo>
                  <a:cubicBezTo>
                    <a:pt x="188" y="476"/>
                    <a:pt x="188" y="474"/>
                    <a:pt x="191" y="473"/>
                  </a:cubicBezTo>
                  <a:cubicBezTo>
                    <a:pt x="195" y="473"/>
                    <a:pt x="198" y="476"/>
                    <a:pt x="198" y="476"/>
                  </a:cubicBezTo>
                  <a:cubicBezTo>
                    <a:pt x="197" y="470"/>
                    <a:pt x="197" y="470"/>
                    <a:pt x="197" y="470"/>
                  </a:cubicBezTo>
                  <a:cubicBezTo>
                    <a:pt x="193" y="468"/>
                    <a:pt x="193" y="468"/>
                    <a:pt x="193" y="468"/>
                  </a:cubicBezTo>
                  <a:cubicBezTo>
                    <a:pt x="196" y="467"/>
                    <a:pt x="196" y="467"/>
                    <a:pt x="196" y="467"/>
                  </a:cubicBezTo>
                  <a:cubicBezTo>
                    <a:pt x="196" y="467"/>
                    <a:pt x="196" y="459"/>
                    <a:pt x="198" y="455"/>
                  </a:cubicBezTo>
                  <a:cubicBezTo>
                    <a:pt x="201" y="451"/>
                    <a:pt x="192" y="446"/>
                    <a:pt x="192" y="446"/>
                  </a:cubicBezTo>
                  <a:cubicBezTo>
                    <a:pt x="195" y="445"/>
                    <a:pt x="195" y="445"/>
                    <a:pt x="195" y="445"/>
                  </a:cubicBezTo>
                  <a:cubicBezTo>
                    <a:pt x="192" y="440"/>
                    <a:pt x="192" y="440"/>
                    <a:pt x="192" y="440"/>
                  </a:cubicBezTo>
                  <a:cubicBezTo>
                    <a:pt x="192" y="440"/>
                    <a:pt x="198" y="442"/>
                    <a:pt x="201" y="435"/>
                  </a:cubicBezTo>
                  <a:cubicBezTo>
                    <a:pt x="204" y="427"/>
                    <a:pt x="183" y="427"/>
                    <a:pt x="183" y="427"/>
                  </a:cubicBezTo>
                  <a:cubicBezTo>
                    <a:pt x="182" y="430"/>
                    <a:pt x="182" y="430"/>
                    <a:pt x="182" y="430"/>
                  </a:cubicBezTo>
                  <a:cubicBezTo>
                    <a:pt x="176" y="429"/>
                    <a:pt x="176" y="429"/>
                    <a:pt x="176" y="429"/>
                  </a:cubicBezTo>
                  <a:cubicBezTo>
                    <a:pt x="176" y="425"/>
                    <a:pt x="176" y="425"/>
                    <a:pt x="176" y="425"/>
                  </a:cubicBezTo>
                  <a:cubicBezTo>
                    <a:pt x="192" y="425"/>
                    <a:pt x="192" y="425"/>
                    <a:pt x="192" y="425"/>
                  </a:cubicBezTo>
                  <a:cubicBezTo>
                    <a:pt x="195" y="425"/>
                    <a:pt x="201" y="428"/>
                    <a:pt x="201" y="428"/>
                  </a:cubicBezTo>
                  <a:cubicBezTo>
                    <a:pt x="204" y="423"/>
                    <a:pt x="204" y="423"/>
                    <a:pt x="204" y="423"/>
                  </a:cubicBezTo>
                  <a:cubicBezTo>
                    <a:pt x="202" y="416"/>
                    <a:pt x="202" y="416"/>
                    <a:pt x="202" y="416"/>
                  </a:cubicBezTo>
                  <a:cubicBezTo>
                    <a:pt x="208" y="420"/>
                    <a:pt x="208" y="420"/>
                    <a:pt x="208" y="420"/>
                  </a:cubicBezTo>
                  <a:cubicBezTo>
                    <a:pt x="208" y="420"/>
                    <a:pt x="212" y="419"/>
                    <a:pt x="213" y="419"/>
                  </a:cubicBezTo>
                  <a:cubicBezTo>
                    <a:pt x="214" y="419"/>
                    <a:pt x="218" y="414"/>
                    <a:pt x="218" y="414"/>
                  </a:cubicBezTo>
                  <a:cubicBezTo>
                    <a:pt x="218" y="409"/>
                    <a:pt x="218" y="409"/>
                    <a:pt x="218" y="409"/>
                  </a:cubicBezTo>
                  <a:cubicBezTo>
                    <a:pt x="222" y="410"/>
                    <a:pt x="222" y="410"/>
                    <a:pt x="222" y="410"/>
                  </a:cubicBezTo>
                  <a:cubicBezTo>
                    <a:pt x="223" y="395"/>
                    <a:pt x="223" y="395"/>
                    <a:pt x="223" y="395"/>
                  </a:cubicBezTo>
                  <a:cubicBezTo>
                    <a:pt x="226" y="396"/>
                    <a:pt x="226" y="396"/>
                    <a:pt x="226" y="396"/>
                  </a:cubicBezTo>
                  <a:cubicBezTo>
                    <a:pt x="228" y="406"/>
                    <a:pt x="228" y="406"/>
                    <a:pt x="228" y="406"/>
                  </a:cubicBezTo>
                  <a:cubicBezTo>
                    <a:pt x="235" y="407"/>
                    <a:pt x="235" y="407"/>
                    <a:pt x="235" y="407"/>
                  </a:cubicBezTo>
                  <a:cubicBezTo>
                    <a:pt x="237" y="397"/>
                    <a:pt x="237" y="397"/>
                    <a:pt x="237" y="397"/>
                  </a:cubicBezTo>
                  <a:cubicBezTo>
                    <a:pt x="237" y="397"/>
                    <a:pt x="239" y="397"/>
                    <a:pt x="241" y="396"/>
                  </a:cubicBezTo>
                  <a:cubicBezTo>
                    <a:pt x="242" y="395"/>
                    <a:pt x="242" y="391"/>
                    <a:pt x="242" y="391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8" y="388"/>
                    <a:pt x="248" y="388"/>
                    <a:pt x="248" y="388"/>
                  </a:cubicBezTo>
                  <a:cubicBezTo>
                    <a:pt x="245" y="387"/>
                    <a:pt x="245" y="387"/>
                    <a:pt x="245" y="387"/>
                  </a:cubicBezTo>
                  <a:cubicBezTo>
                    <a:pt x="243" y="381"/>
                    <a:pt x="243" y="381"/>
                    <a:pt x="243" y="381"/>
                  </a:cubicBezTo>
                  <a:cubicBezTo>
                    <a:pt x="237" y="376"/>
                    <a:pt x="237" y="376"/>
                    <a:pt x="237" y="376"/>
                  </a:cubicBezTo>
                  <a:cubicBezTo>
                    <a:pt x="239" y="373"/>
                    <a:pt x="239" y="373"/>
                    <a:pt x="239" y="373"/>
                  </a:cubicBezTo>
                  <a:cubicBezTo>
                    <a:pt x="244" y="373"/>
                    <a:pt x="244" y="373"/>
                    <a:pt x="244" y="37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58" y="355"/>
                    <a:pt x="258" y="355"/>
                    <a:pt x="258" y="355"/>
                  </a:cubicBezTo>
                  <a:cubicBezTo>
                    <a:pt x="266" y="349"/>
                    <a:pt x="266" y="349"/>
                    <a:pt x="266" y="349"/>
                  </a:cubicBezTo>
                  <a:cubicBezTo>
                    <a:pt x="267" y="348"/>
                    <a:pt x="267" y="348"/>
                    <a:pt x="267" y="348"/>
                  </a:cubicBezTo>
                  <a:cubicBezTo>
                    <a:pt x="259" y="348"/>
                    <a:pt x="259" y="348"/>
                    <a:pt x="259" y="348"/>
                  </a:cubicBezTo>
                  <a:cubicBezTo>
                    <a:pt x="261" y="342"/>
                    <a:pt x="261" y="342"/>
                    <a:pt x="261" y="342"/>
                  </a:cubicBezTo>
                  <a:cubicBezTo>
                    <a:pt x="266" y="343"/>
                    <a:pt x="266" y="343"/>
                    <a:pt x="266" y="343"/>
                  </a:cubicBezTo>
                  <a:cubicBezTo>
                    <a:pt x="267" y="340"/>
                    <a:pt x="267" y="340"/>
                    <a:pt x="267" y="340"/>
                  </a:cubicBezTo>
                  <a:cubicBezTo>
                    <a:pt x="261" y="336"/>
                    <a:pt x="261" y="336"/>
                    <a:pt x="261" y="336"/>
                  </a:cubicBezTo>
                  <a:cubicBezTo>
                    <a:pt x="256" y="326"/>
                    <a:pt x="256" y="326"/>
                    <a:pt x="256" y="326"/>
                  </a:cubicBezTo>
                  <a:cubicBezTo>
                    <a:pt x="247" y="326"/>
                    <a:pt x="247" y="326"/>
                    <a:pt x="247" y="326"/>
                  </a:cubicBezTo>
                  <a:cubicBezTo>
                    <a:pt x="245" y="326"/>
                    <a:pt x="242" y="318"/>
                    <a:pt x="242" y="318"/>
                  </a:cubicBezTo>
                  <a:cubicBezTo>
                    <a:pt x="242" y="314"/>
                    <a:pt x="242" y="314"/>
                    <a:pt x="242" y="314"/>
                  </a:cubicBezTo>
                  <a:cubicBezTo>
                    <a:pt x="241" y="312"/>
                    <a:pt x="241" y="312"/>
                    <a:pt x="241" y="312"/>
                  </a:cubicBezTo>
                  <a:cubicBezTo>
                    <a:pt x="237" y="313"/>
                    <a:pt x="237" y="313"/>
                    <a:pt x="237" y="313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7" y="302"/>
                    <a:pt x="228" y="298"/>
                    <a:pt x="225" y="297"/>
                  </a:cubicBezTo>
                  <a:cubicBezTo>
                    <a:pt x="221" y="296"/>
                    <a:pt x="216" y="305"/>
                    <a:pt x="216" y="305"/>
                  </a:cubicBezTo>
                  <a:cubicBezTo>
                    <a:pt x="213" y="300"/>
                    <a:pt x="213" y="300"/>
                    <a:pt x="213" y="300"/>
                  </a:cubicBezTo>
                  <a:cubicBezTo>
                    <a:pt x="213" y="300"/>
                    <a:pt x="215" y="298"/>
                    <a:pt x="213" y="296"/>
                  </a:cubicBezTo>
                  <a:cubicBezTo>
                    <a:pt x="210" y="294"/>
                    <a:pt x="198" y="296"/>
                    <a:pt x="198" y="296"/>
                  </a:cubicBezTo>
                  <a:cubicBezTo>
                    <a:pt x="205" y="289"/>
                    <a:pt x="205" y="289"/>
                    <a:pt x="205" y="289"/>
                  </a:cubicBezTo>
                  <a:cubicBezTo>
                    <a:pt x="200" y="282"/>
                    <a:pt x="200" y="282"/>
                    <a:pt x="200" y="282"/>
                  </a:cubicBezTo>
                  <a:cubicBezTo>
                    <a:pt x="196" y="281"/>
                    <a:pt x="196" y="281"/>
                    <a:pt x="196" y="281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6" y="263"/>
                    <a:pt x="196" y="263"/>
                    <a:pt x="196" y="263"/>
                  </a:cubicBezTo>
                  <a:cubicBezTo>
                    <a:pt x="196" y="263"/>
                    <a:pt x="198" y="257"/>
                    <a:pt x="198" y="254"/>
                  </a:cubicBezTo>
                  <a:cubicBezTo>
                    <a:pt x="198" y="252"/>
                    <a:pt x="193" y="250"/>
                    <a:pt x="193" y="250"/>
                  </a:cubicBezTo>
                  <a:cubicBezTo>
                    <a:pt x="195" y="239"/>
                    <a:pt x="195" y="239"/>
                    <a:pt x="195" y="239"/>
                  </a:cubicBezTo>
                  <a:cubicBezTo>
                    <a:pt x="193" y="238"/>
                    <a:pt x="193" y="238"/>
                    <a:pt x="193" y="238"/>
                  </a:cubicBezTo>
                  <a:cubicBezTo>
                    <a:pt x="196" y="236"/>
                    <a:pt x="196" y="236"/>
                    <a:pt x="196" y="236"/>
                  </a:cubicBezTo>
                  <a:cubicBezTo>
                    <a:pt x="192" y="227"/>
                    <a:pt x="192" y="227"/>
                    <a:pt x="192" y="227"/>
                  </a:cubicBezTo>
                  <a:cubicBezTo>
                    <a:pt x="198" y="231"/>
                    <a:pt x="198" y="231"/>
                    <a:pt x="198" y="231"/>
                  </a:cubicBezTo>
                  <a:cubicBezTo>
                    <a:pt x="201" y="227"/>
                    <a:pt x="201" y="227"/>
                    <a:pt x="201" y="227"/>
                  </a:cubicBezTo>
                  <a:cubicBezTo>
                    <a:pt x="201" y="227"/>
                    <a:pt x="200" y="223"/>
                    <a:pt x="198" y="221"/>
                  </a:cubicBezTo>
                  <a:cubicBezTo>
                    <a:pt x="195" y="220"/>
                    <a:pt x="197" y="212"/>
                    <a:pt x="197" y="212"/>
                  </a:cubicBezTo>
                  <a:cubicBezTo>
                    <a:pt x="200" y="209"/>
                    <a:pt x="200" y="209"/>
                    <a:pt x="200" y="209"/>
                  </a:cubicBezTo>
                  <a:cubicBezTo>
                    <a:pt x="201" y="198"/>
                    <a:pt x="201" y="198"/>
                    <a:pt x="201" y="198"/>
                  </a:cubicBezTo>
                  <a:cubicBezTo>
                    <a:pt x="206" y="196"/>
                    <a:pt x="206" y="196"/>
                    <a:pt x="206" y="196"/>
                  </a:cubicBezTo>
                  <a:cubicBezTo>
                    <a:pt x="206" y="193"/>
                    <a:pt x="206" y="193"/>
                    <a:pt x="206" y="193"/>
                  </a:cubicBezTo>
                  <a:cubicBezTo>
                    <a:pt x="200" y="193"/>
                    <a:pt x="200" y="193"/>
                    <a:pt x="200" y="193"/>
                  </a:cubicBezTo>
                  <a:cubicBezTo>
                    <a:pt x="199" y="189"/>
                    <a:pt x="199" y="189"/>
                    <a:pt x="199" y="189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6" y="180"/>
                    <a:pt x="196" y="180"/>
                    <a:pt x="196" y="180"/>
                  </a:cubicBezTo>
                  <a:cubicBezTo>
                    <a:pt x="194" y="178"/>
                    <a:pt x="194" y="178"/>
                    <a:pt x="194" y="178"/>
                  </a:cubicBezTo>
                  <a:cubicBezTo>
                    <a:pt x="199" y="176"/>
                    <a:pt x="199" y="176"/>
                    <a:pt x="199" y="176"/>
                  </a:cubicBezTo>
                  <a:cubicBezTo>
                    <a:pt x="202" y="182"/>
                    <a:pt x="202" y="182"/>
                    <a:pt x="202" y="182"/>
                  </a:cubicBezTo>
                  <a:cubicBezTo>
                    <a:pt x="207" y="180"/>
                    <a:pt x="207" y="180"/>
                    <a:pt x="207" y="180"/>
                  </a:cubicBezTo>
                  <a:cubicBezTo>
                    <a:pt x="205" y="178"/>
                    <a:pt x="205" y="178"/>
                    <a:pt x="205" y="178"/>
                  </a:cubicBezTo>
                  <a:cubicBezTo>
                    <a:pt x="207" y="175"/>
                    <a:pt x="207" y="175"/>
                    <a:pt x="207" y="175"/>
                  </a:cubicBezTo>
                  <a:cubicBezTo>
                    <a:pt x="207" y="175"/>
                    <a:pt x="212" y="175"/>
                    <a:pt x="212" y="173"/>
                  </a:cubicBezTo>
                  <a:cubicBezTo>
                    <a:pt x="212" y="166"/>
                    <a:pt x="212" y="166"/>
                    <a:pt x="212" y="166"/>
                  </a:cubicBezTo>
                  <a:cubicBezTo>
                    <a:pt x="213" y="162"/>
                    <a:pt x="213" y="162"/>
                    <a:pt x="213" y="162"/>
                  </a:cubicBezTo>
                  <a:cubicBezTo>
                    <a:pt x="213" y="162"/>
                    <a:pt x="211" y="156"/>
                    <a:pt x="213" y="156"/>
                  </a:cubicBezTo>
                  <a:cubicBezTo>
                    <a:pt x="215" y="155"/>
                    <a:pt x="216" y="158"/>
                    <a:pt x="216" y="158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5"/>
                    <a:pt x="218" y="151"/>
                    <a:pt x="221" y="149"/>
                  </a:cubicBezTo>
                  <a:cubicBezTo>
                    <a:pt x="222" y="148"/>
                    <a:pt x="225" y="153"/>
                    <a:pt x="225" y="153"/>
                  </a:cubicBezTo>
                  <a:cubicBezTo>
                    <a:pt x="229" y="147"/>
                    <a:pt x="229" y="147"/>
                    <a:pt x="229" y="147"/>
                  </a:cubicBezTo>
                  <a:cubicBezTo>
                    <a:pt x="225" y="145"/>
                    <a:pt x="225" y="145"/>
                    <a:pt x="225" y="145"/>
                  </a:cubicBezTo>
                  <a:cubicBezTo>
                    <a:pt x="228" y="144"/>
                    <a:pt x="228" y="144"/>
                    <a:pt x="228" y="144"/>
                  </a:cubicBezTo>
                  <a:cubicBezTo>
                    <a:pt x="228" y="143"/>
                    <a:pt x="228" y="143"/>
                    <a:pt x="228" y="143"/>
                  </a:cubicBezTo>
                  <a:cubicBezTo>
                    <a:pt x="222" y="143"/>
                    <a:pt x="222" y="143"/>
                    <a:pt x="222" y="143"/>
                  </a:cubicBezTo>
                  <a:cubicBezTo>
                    <a:pt x="226" y="140"/>
                    <a:pt x="226" y="140"/>
                    <a:pt x="226" y="140"/>
                  </a:cubicBezTo>
                  <a:cubicBezTo>
                    <a:pt x="231" y="128"/>
                    <a:pt x="231" y="128"/>
                    <a:pt x="231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9" y="125"/>
                    <a:pt x="239" y="125"/>
                    <a:pt x="239" y="125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9" y="122"/>
                    <a:pt x="239" y="122"/>
                    <a:pt x="239" y="122"/>
                  </a:cubicBezTo>
                  <a:cubicBezTo>
                    <a:pt x="243" y="126"/>
                    <a:pt x="243" y="126"/>
                    <a:pt x="243" y="126"/>
                  </a:cubicBezTo>
                  <a:cubicBezTo>
                    <a:pt x="243" y="126"/>
                    <a:pt x="244" y="122"/>
                    <a:pt x="246" y="119"/>
                  </a:cubicBezTo>
                  <a:cubicBezTo>
                    <a:pt x="248" y="116"/>
                    <a:pt x="249" y="109"/>
                    <a:pt x="249" y="109"/>
                  </a:cubicBezTo>
                  <a:cubicBezTo>
                    <a:pt x="249" y="109"/>
                    <a:pt x="251" y="110"/>
                    <a:pt x="254" y="108"/>
                  </a:cubicBezTo>
                  <a:cubicBezTo>
                    <a:pt x="256" y="107"/>
                    <a:pt x="255" y="101"/>
                    <a:pt x="255" y="101"/>
                  </a:cubicBezTo>
                  <a:cubicBezTo>
                    <a:pt x="258" y="106"/>
                    <a:pt x="258" y="106"/>
                    <a:pt x="258" y="106"/>
                  </a:cubicBezTo>
                  <a:cubicBezTo>
                    <a:pt x="261" y="111"/>
                    <a:pt x="261" y="111"/>
                    <a:pt x="261" y="111"/>
                  </a:cubicBezTo>
                  <a:cubicBezTo>
                    <a:pt x="263" y="109"/>
                    <a:pt x="263" y="109"/>
                    <a:pt x="263" y="109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70" y="96"/>
                    <a:pt x="270" y="96"/>
                    <a:pt x="270" y="96"/>
                  </a:cubicBezTo>
                  <a:cubicBezTo>
                    <a:pt x="268" y="94"/>
                    <a:pt x="268" y="94"/>
                    <a:pt x="268" y="94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2" y="94"/>
                    <a:pt x="272" y="94"/>
                    <a:pt x="272" y="94"/>
                  </a:cubicBezTo>
                  <a:cubicBezTo>
                    <a:pt x="278" y="92"/>
                    <a:pt x="278" y="92"/>
                    <a:pt x="278" y="92"/>
                  </a:cubicBezTo>
                  <a:cubicBezTo>
                    <a:pt x="278" y="88"/>
                    <a:pt x="278" y="88"/>
                    <a:pt x="278" y="88"/>
                  </a:cubicBezTo>
                  <a:cubicBezTo>
                    <a:pt x="280" y="92"/>
                    <a:pt x="280" y="92"/>
                    <a:pt x="280" y="92"/>
                  </a:cubicBezTo>
                  <a:cubicBezTo>
                    <a:pt x="281" y="82"/>
                    <a:pt x="281" y="82"/>
                    <a:pt x="281" y="82"/>
                  </a:cubicBezTo>
                  <a:cubicBezTo>
                    <a:pt x="284" y="87"/>
                    <a:pt x="284" y="87"/>
                    <a:pt x="284" y="87"/>
                  </a:cubicBezTo>
                  <a:cubicBezTo>
                    <a:pt x="290" y="81"/>
                    <a:pt x="290" y="81"/>
                    <a:pt x="290" y="81"/>
                  </a:cubicBezTo>
                  <a:cubicBezTo>
                    <a:pt x="290" y="81"/>
                    <a:pt x="293" y="73"/>
                    <a:pt x="294" y="69"/>
                  </a:cubicBezTo>
                  <a:cubicBezTo>
                    <a:pt x="295" y="66"/>
                    <a:pt x="293" y="61"/>
                    <a:pt x="293" y="6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99" y="50"/>
                    <a:pt x="299" y="50"/>
                    <a:pt x="299" y="50"/>
                  </a:cubicBezTo>
                  <a:cubicBezTo>
                    <a:pt x="309" y="41"/>
                    <a:pt x="309" y="41"/>
                    <a:pt x="309" y="41"/>
                  </a:cubicBezTo>
                  <a:cubicBezTo>
                    <a:pt x="310" y="35"/>
                    <a:pt x="310" y="35"/>
                    <a:pt x="310" y="35"/>
                  </a:cubicBezTo>
                  <a:lnTo>
                    <a:pt x="306" y="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Norwa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280732" y="681942"/>
              <a:ext cx="886897" cy="1329529"/>
            </a:xfrm>
            <a:custGeom>
              <a:avLst/>
              <a:gdLst/>
              <a:ahLst/>
              <a:cxnLst>
                <a:cxn ang="0">
                  <a:pos x="60" y="187"/>
                </a:cxn>
                <a:cxn ang="0">
                  <a:pos x="17" y="296"/>
                </a:cxn>
                <a:cxn ang="0">
                  <a:pos x="14" y="237"/>
                </a:cxn>
                <a:cxn ang="0">
                  <a:pos x="22" y="238"/>
                </a:cxn>
                <a:cxn ang="0">
                  <a:pos x="42" y="189"/>
                </a:cxn>
                <a:cxn ang="0">
                  <a:pos x="162" y="112"/>
                </a:cxn>
                <a:cxn ang="0">
                  <a:pos x="82" y="158"/>
                </a:cxn>
                <a:cxn ang="0">
                  <a:pos x="207" y="31"/>
                </a:cxn>
                <a:cxn ang="0">
                  <a:pos x="132" y="107"/>
                </a:cxn>
                <a:cxn ang="0">
                  <a:pos x="150" y="109"/>
                </a:cxn>
                <a:cxn ang="0">
                  <a:pos x="123" y="140"/>
                </a:cxn>
                <a:cxn ang="0">
                  <a:pos x="10" y="302"/>
                </a:cxn>
                <a:cxn ang="0">
                  <a:pos x="24" y="220"/>
                </a:cxn>
                <a:cxn ang="0">
                  <a:pos x="10" y="262"/>
                </a:cxn>
                <a:cxn ang="0">
                  <a:pos x="14" y="230"/>
                </a:cxn>
                <a:cxn ang="0">
                  <a:pos x="43" y="332"/>
                </a:cxn>
                <a:cxn ang="0">
                  <a:pos x="10" y="376"/>
                </a:cxn>
                <a:cxn ang="0">
                  <a:pos x="256" y="16"/>
                </a:cxn>
                <a:cxn ang="0">
                  <a:pos x="231" y="32"/>
                </a:cxn>
                <a:cxn ang="0">
                  <a:pos x="213" y="50"/>
                </a:cxn>
                <a:cxn ang="0">
                  <a:pos x="169" y="108"/>
                </a:cxn>
                <a:cxn ang="0">
                  <a:pos x="221" y="85"/>
                </a:cxn>
                <a:cxn ang="0">
                  <a:pos x="180" y="129"/>
                </a:cxn>
                <a:cxn ang="0">
                  <a:pos x="155" y="123"/>
                </a:cxn>
                <a:cxn ang="0">
                  <a:pos x="126" y="146"/>
                </a:cxn>
                <a:cxn ang="0">
                  <a:pos x="123" y="154"/>
                </a:cxn>
                <a:cxn ang="0">
                  <a:pos x="85" y="153"/>
                </a:cxn>
                <a:cxn ang="0">
                  <a:pos x="100" y="173"/>
                </a:cxn>
                <a:cxn ang="0">
                  <a:pos x="74" y="177"/>
                </a:cxn>
                <a:cxn ang="0">
                  <a:pos x="82" y="193"/>
                </a:cxn>
                <a:cxn ang="0">
                  <a:pos x="50" y="198"/>
                </a:cxn>
                <a:cxn ang="0">
                  <a:pos x="31" y="202"/>
                </a:cxn>
                <a:cxn ang="0">
                  <a:pos x="78" y="223"/>
                </a:cxn>
                <a:cxn ang="0">
                  <a:pos x="26" y="235"/>
                </a:cxn>
                <a:cxn ang="0">
                  <a:pos x="22" y="261"/>
                </a:cxn>
                <a:cxn ang="0">
                  <a:pos x="67" y="261"/>
                </a:cxn>
                <a:cxn ang="0">
                  <a:pos x="90" y="259"/>
                </a:cxn>
                <a:cxn ang="0">
                  <a:pos x="76" y="281"/>
                </a:cxn>
                <a:cxn ang="0">
                  <a:pos x="31" y="272"/>
                </a:cxn>
                <a:cxn ang="0">
                  <a:pos x="27" y="298"/>
                </a:cxn>
                <a:cxn ang="0">
                  <a:pos x="22" y="329"/>
                </a:cxn>
                <a:cxn ang="0">
                  <a:pos x="40" y="328"/>
                </a:cxn>
                <a:cxn ang="0">
                  <a:pos x="62" y="329"/>
                </a:cxn>
                <a:cxn ang="0">
                  <a:pos x="39" y="350"/>
                </a:cxn>
                <a:cxn ang="0">
                  <a:pos x="22" y="357"/>
                </a:cxn>
                <a:cxn ang="0">
                  <a:pos x="23" y="385"/>
                </a:cxn>
                <a:cxn ang="0">
                  <a:pos x="45" y="369"/>
                </a:cxn>
                <a:cxn ang="0">
                  <a:pos x="41" y="389"/>
                </a:cxn>
                <a:cxn ang="0">
                  <a:pos x="25" y="405"/>
                </a:cxn>
                <a:cxn ang="0">
                  <a:pos x="50" y="467"/>
                </a:cxn>
                <a:cxn ang="0">
                  <a:pos x="124" y="444"/>
                </a:cxn>
                <a:cxn ang="0">
                  <a:pos x="188" y="397"/>
                </a:cxn>
                <a:cxn ang="0">
                  <a:pos x="189" y="364"/>
                </a:cxn>
                <a:cxn ang="0">
                  <a:pos x="211" y="399"/>
                </a:cxn>
                <a:cxn ang="0">
                  <a:pos x="252" y="286"/>
                </a:cxn>
                <a:cxn ang="0">
                  <a:pos x="249" y="122"/>
                </a:cxn>
                <a:cxn ang="0">
                  <a:pos x="19" y="334"/>
                </a:cxn>
                <a:cxn ang="0">
                  <a:pos x="9" y="364"/>
                </a:cxn>
                <a:cxn ang="0">
                  <a:pos x="16" y="344"/>
                </a:cxn>
                <a:cxn ang="0">
                  <a:pos x="34" y="297"/>
                </a:cxn>
                <a:cxn ang="0">
                  <a:pos x="14" y="334"/>
                </a:cxn>
                <a:cxn ang="0">
                  <a:pos x="11" y="337"/>
                </a:cxn>
                <a:cxn ang="0">
                  <a:pos x="7" y="286"/>
                </a:cxn>
              </a:cxnLst>
              <a:rect l="0" t="0" r="r" b="b"/>
              <a:pathLst>
                <a:path w="314" h="471">
                  <a:moveTo>
                    <a:pt x="57" y="177"/>
                  </a:moveTo>
                  <a:cubicBezTo>
                    <a:pt x="59" y="177"/>
                    <a:pt x="61" y="172"/>
                    <a:pt x="58" y="173"/>
                  </a:cubicBezTo>
                  <a:cubicBezTo>
                    <a:pt x="55" y="174"/>
                    <a:pt x="56" y="177"/>
                    <a:pt x="57" y="177"/>
                  </a:cubicBezTo>
                  <a:close/>
                  <a:moveTo>
                    <a:pt x="53" y="184"/>
                  </a:moveTo>
                  <a:cubicBezTo>
                    <a:pt x="49" y="185"/>
                    <a:pt x="49" y="185"/>
                    <a:pt x="49" y="185"/>
                  </a:cubicBezTo>
                  <a:cubicBezTo>
                    <a:pt x="49" y="194"/>
                    <a:pt x="49" y="194"/>
                    <a:pt x="49" y="194"/>
                  </a:cubicBezTo>
                  <a:cubicBezTo>
                    <a:pt x="57" y="189"/>
                    <a:pt x="57" y="189"/>
                    <a:pt x="57" y="189"/>
                  </a:cubicBezTo>
                  <a:lnTo>
                    <a:pt x="53" y="184"/>
                  </a:lnTo>
                  <a:close/>
                  <a:moveTo>
                    <a:pt x="63" y="171"/>
                  </a:moveTo>
                  <a:cubicBezTo>
                    <a:pt x="59" y="170"/>
                    <a:pt x="59" y="170"/>
                    <a:pt x="59" y="170"/>
                  </a:cubicBezTo>
                  <a:cubicBezTo>
                    <a:pt x="62" y="173"/>
                    <a:pt x="62" y="173"/>
                    <a:pt x="62" y="173"/>
                  </a:cubicBezTo>
                  <a:lnTo>
                    <a:pt x="63" y="171"/>
                  </a:lnTo>
                  <a:close/>
                  <a:moveTo>
                    <a:pt x="60" y="187"/>
                  </a:moveTo>
                  <a:cubicBezTo>
                    <a:pt x="65" y="185"/>
                    <a:pt x="65" y="185"/>
                    <a:pt x="65" y="185"/>
                  </a:cubicBezTo>
                  <a:cubicBezTo>
                    <a:pt x="61" y="183"/>
                    <a:pt x="61" y="183"/>
                    <a:pt x="61" y="183"/>
                  </a:cubicBezTo>
                  <a:cubicBezTo>
                    <a:pt x="57" y="184"/>
                    <a:pt x="57" y="184"/>
                    <a:pt x="57" y="184"/>
                  </a:cubicBezTo>
                  <a:lnTo>
                    <a:pt x="60" y="187"/>
                  </a:lnTo>
                  <a:close/>
                  <a:moveTo>
                    <a:pt x="55" y="178"/>
                  </a:moveTo>
                  <a:cubicBezTo>
                    <a:pt x="51" y="182"/>
                    <a:pt x="51" y="182"/>
                    <a:pt x="51" y="182"/>
                  </a:cubicBezTo>
                  <a:cubicBezTo>
                    <a:pt x="58" y="182"/>
                    <a:pt x="58" y="182"/>
                    <a:pt x="58" y="182"/>
                  </a:cubicBezTo>
                  <a:lnTo>
                    <a:pt x="55" y="178"/>
                  </a:lnTo>
                  <a:close/>
                  <a:moveTo>
                    <a:pt x="22" y="294"/>
                  </a:moveTo>
                  <a:cubicBezTo>
                    <a:pt x="13" y="285"/>
                    <a:pt x="13" y="285"/>
                    <a:pt x="13" y="285"/>
                  </a:cubicBezTo>
                  <a:cubicBezTo>
                    <a:pt x="12" y="286"/>
                    <a:pt x="12" y="286"/>
                    <a:pt x="12" y="286"/>
                  </a:cubicBezTo>
                  <a:cubicBezTo>
                    <a:pt x="18" y="294"/>
                    <a:pt x="18" y="294"/>
                    <a:pt x="18" y="294"/>
                  </a:cubicBezTo>
                  <a:cubicBezTo>
                    <a:pt x="17" y="296"/>
                    <a:pt x="17" y="296"/>
                    <a:pt x="17" y="296"/>
                  </a:cubicBezTo>
                  <a:cubicBezTo>
                    <a:pt x="15" y="295"/>
                    <a:pt x="15" y="295"/>
                    <a:pt x="15" y="295"/>
                  </a:cubicBezTo>
                  <a:cubicBezTo>
                    <a:pt x="20" y="302"/>
                    <a:pt x="20" y="302"/>
                    <a:pt x="20" y="302"/>
                  </a:cubicBezTo>
                  <a:cubicBezTo>
                    <a:pt x="23" y="302"/>
                    <a:pt x="25" y="299"/>
                    <a:pt x="25" y="299"/>
                  </a:cubicBezTo>
                  <a:cubicBezTo>
                    <a:pt x="23" y="296"/>
                    <a:pt x="23" y="296"/>
                    <a:pt x="23" y="296"/>
                  </a:cubicBezTo>
                  <a:lnTo>
                    <a:pt x="22" y="294"/>
                  </a:lnTo>
                  <a:close/>
                  <a:moveTo>
                    <a:pt x="71" y="162"/>
                  </a:moveTo>
                  <a:cubicBezTo>
                    <a:pt x="69" y="162"/>
                    <a:pt x="69" y="162"/>
                    <a:pt x="69" y="162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1" y="166"/>
                    <a:pt x="71" y="166"/>
                    <a:pt x="71" y="166"/>
                  </a:cubicBezTo>
                  <a:lnTo>
                    <a:pt x="71" y="162"/>
                  </a:lnTo>
                  <a:close/>
                  <a:moveTo>
                    <a:pt x="15" y="241"/>
                  </a:moveTo>
                  <a:cubicBezTo>
                    <a:pt x="18" y="240"/>
                    <a:pt x="18" y="240"/>
                    <a:pt x="18" y="240"/>
                  </a:cubicBezTo>
                  <a:cubicBezTo>
                    <a:pt x="14" y="237"/>
                    <a:pt x="14" y="237"/>
                    <a:pt x="14" y="237"/>
                  </a:cubicBezTo>
                  <a:lnTo>
                    <a:pt x="15" y="241"/>
                  </a:lnTo>
                  <a:close/>
                  <a:moveTo>
                    <a:pt x="63" y="168"/>
                  </a:moveTo>
                  <a:cubicBezTo>
                    <a:pt x="62" y="169"/>
                    <a:pt x="62" y="169"/>
                    <a:pt x="62" y="169"/>
                  </a:cubicBezTo>
                  <a:cubicBezTo>
                    <a:pt x="65" y="171"/>
                    <a:pt x="65" y="171"/>
                    <a:pt x="65" y="171"/>
                  </a:cubicBezTo>
                  <a:lnTo>
                    <a:pt x="63" y="168"/>
                  </a:lnTo>
                  <a:close/>
                  <a:moveTo>
                    <a:pt x="36" y="192"/>
                  </a:moveTo>
                  <a:cubicBezTo>
                    <a:pt x="34" y="193"/>
                    <a:pt x="34" y="193"/>
                    <a:pt x="34" y="193"/>
                  </a:cubicBezTo>
                  <a:cubicBezTo>
                    <a:pt x="34" y="195"/>
                    <a:pt x="34" y="195"/>
                    <a:pt x="34" y="195"/>
                  </a:cubicBezTo>
                  <a:cubicBezTo>
                    <a:pt x="36" y="195"/>
                    <a:pt x="36" y="195"/>
                    <a:pt x="36" y="195"/>
                  </a:cubicBezTo>
                  <a:lnTo>
                    <a:pt x="36" y="192"/>
                  </a:lnTo>
                  <a:close/>
                  <a:moveTo>
                    <a:pt x="22" y="234"/>
                  </a:moveTo>
                  <a:cubicBezTo>
                    <a:pt x="17" y="236"/>
                    <a:pt x="17" y="236"/>
                    <a:pt x="17" y="236"/>
                  </a:cubicBezTo>
                  <a:cubicBezTo>
                    <a:pt x="22" y="238"/>
                    <a:pt x="22" y="238"/>
                    <a:pt x="22" y="238"/>
                  </a:cubicBezTo>
                  <a:lnTo>
                    <a:pt x="22" y="234"/>
                  </a:lnTo>
                  <a:close/>
                  <a:moveTo>
                    <a:pt x="45" y="198"/>
                  </a:moveTo>
                  <a:cubicBezTo>
                    <a:pt x="48" y="196"/>
                    <a:pt x="48" y="192"/>
                    <a:pt x="44" y="191"/>
                  </a:cubicBezTo>
                  <a:cubicBezTo>
                    <a:pt x="40" y="189"/>
                    <a:pt x="40" y="194"/>
                    <a:pt x="40" y="194"/>
                  </a:cubicBezTo>
                  <a:cubicBezTo>
                    <a:pt x="39" y="195"/>
                    <a:pt x="39" y="195"/>
                    <a:pt x="39" y="195"/>
                  </a:cubicBezTo>
                  <a:cubicBezTo>
                    <a:pt x="39" y="198"/>
                    <a:pt x="42" y="199"/>
                    <a:pt x="45" y="198"/>
                  </a:cubicBezTo>
                  <a:close/>
                  <a:moveTo>
                    <a:pt x="42" y="189"/>
                  </a:moveTo>
                  <a:cubicBezTo>
                    <a:pt x="45" y="189"/>
                    <a:pt x="45" y="189"/>
                    <a:pt x="45" y="189"/>
                  </a:cubicBezTo>
                  <a:cubicBezTo>
                    <a:pt x="46" y="187"/>
                    <a:pt x="46" y="187"/>
                    <a:pt x="46" y="187"/>
                  </a:cubicBezTo>
                  <a:cubicBezTo>
                    <a:pt x="43" y="184"/>
                    <a:pt x="43" y="184"/>
                    <a:pt x="43" y="184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42" y="187"/>
                    <a:pt x="42" y="187"/>
                    <a:pt x="42" y="187"/>
                  </a:cubicBezTo>
                  <a:lnTo>
                    <a:pt x="42" y="189"/>
                  </a:lnTo>
                  <a:close/>
                  <a:moveTo>
                    <a:pt x="80" y="169"/>
                  </a:moveTo>
                  <a:cubicBezTo>
                    <a:pt x="85" y="167"/>
                    <a:pt x="85" y="166"/>
                    <a:pt x="82" y="166"/>
                  </a:cubicBezTo>
                  <a:cubicBezTo>
                    <a:pt x="78" y="164"/>
                    <a:pt x="77" y="167"/>
                    <a:pt x="77" y="168"/>
                  </a:cubicBezTo>
                  <a:cubicBezTo>
                    <a:pt x="77" y="169"/>
                    <a:pt x="80" y="169"/>
                    <a:pt x="80" y="169"/>
                  </a:cubicBezTo>
                  <a:close/>
                  <a:moveTo>
                    <a:pt x="118" y="126"/>
                  </a:moveTo>
                  <a:cubicBezTo>
                    <a:pt x="123" y="128"/>
                    <a:pt x="123" y="128"/>
                    <a:pt x="123" y="128"/>
                  </a:cubicBezTo>
                  <a:cubicBezTo>
                    <a:pt x="127" y="127"/>
                    <a:pt x="127" y="127"/>
                    <a:pt x="127" y="127"/>
                  </a:cubicBezTo>
                  <a:cubicBezTo>
                    <a:pt x="127" y="127"/>
                    <a:pt x="127" y="120"/>
                    <a:pt x="123" y="121"/>
                  </a:cubicBezTo>
                  <a:cubicBezTo>
                    <a:pt x="117" y="121"/>
                    <a:pt x="115" y="122"/>
                    <a:pt x="115" y="122"/>
                  </a:cubicBezTo>
                  <a:cubicBezTo>
                    <a:pt x="116" y="126"/>
                    <a:pt x="116" y="126"/>
                    <a:pt x="116" y="126"/>
                  </a:cubicBezTo>
                  <a:lnTo>
                    <a:pt x="118" y="126"/>
                  </a:lnTo>
                  <a:close/>
                  <a:moveTo>
                    <a:pt x="162" y="106"/>
                  </a:moveTo>
                  <a:cubicBezTo>
                    <a:pt x="162" y="112"/>
                    <a:pt x="162" y="112"/>
                    <a:pt x="162" y="112"/>
                  </a:cubicBezTo>
                  <a:cubicBezTo>
                    <a:pt x="166" y="110"/>
                    <a:pt x="166" y="110"/>
                    <a:pt x="166" y="110"/>
                  </a:cubicBezTo>
                  <a:lnTo>
                    <a:pt x="162" y="106"/>
                  </a:lnTo>
                  <a:close/>
                  <a:moveTo>
                    <a:pt x="113" y="139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5" y="142"/>
                    <a:pt x="115" y="142"/>
                    <a:pt x="115" y="142"/>
                  </a:cubicBezTo>
                  <a:lnTo>
                    <a:pt x="113" y="139"/>
                  </a:lnTo>
                  <a:close/>
                  <a:moveTo>
                    <a:pt x="116" y="146"/>
                  </a:moveTo>
                  <a:cubicBezTo>
                    <a:pt x="116" y="143"/>
                    <a:pt x="116" y="143"/>
                    <a:pt x="116" y="143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2" y="148"/>
                    <a:pt x="112" y="148"/>
                    <a:pt x="112" y="148"/>
                  </a:cubicBezTo>
                  <a:lnTo>
                    <a:pt x="116" y="146"/>
                  </a:lnTo>
                  <a:close/>
                  <a:moveTo>
                    <a:pt x="87" y="159"/>
                  </a:moveTo>
                  <a:cubicBezTo>
                    <a:pt x="82" y="158"/>
                    <a:pt x="82" y="158"/>
                    <a:pt x="82" y="158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83" y="162"/>
                    <a:pt x="83" y="162"/>
                    <a:pt x="83" y="162"/>
                  </a:cubicBezTo>
                  <a:lnTo>
                    <a:pt x="87" y="159"/>
                  </a:lnTo>
                  <a:close/>
                  <a:moveTo>
                    <a:pt x="235" y="16"/>
                  </a:moveTo>
                  <a:cubicBezTo>
                    <a:pt x="235" y="16"/>
                    <a:pt x="232" y="15"/>
                    <a:pt x="230" y="16"/>
                  </a:cubicBezTo>
                  <a:cubicBezTo>
                    <a:pt x="227" y="18"/>
                    <a:pt x="229" y="21"/>
                    <a:pt x="229" y="21"/>
                  </a:cubicBezTo>
                  <a:lnTo>
                    <a:pt x="235" y="16"/>
                  </a:lnTo>
                  <a:close/>
                  <a:moveTo>
                    <a:pt x="215" y="30"/>
                  </a:moveTo>
                  <a:cubicBezTo>
                    <a:pt x="216" y="30"/>
                    <a:pt x="214" y="32"/>
                    <a:pt x="214" y="32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2" y="30"/>
                    <a:pt x="220" y="25"/>
                    <a:pt x="214" y="26"/>
                  </a:cubicBezTo>
                  <a:cubicBezTo>
                    <a:pt x="210" y="27"/>
                    <a:pt x="207" y="31"/>
                    <a:pt x="207" y="31"/>
                  </a:cubicBezTo>
                  <a:cubicBezTo>
                    <a:pt x="210" y="33"/>
                    <a:pt x="210" y="33"/>
                    <a:pt x="210" y="33"/>
                  </a:cubicBezTo>
                  <a:cubicBezTo>
                    <a:pt x="210" y="33"/>
                    <a:pt x="214" y="29"/>
                    <a:pt x="215" y="30"/>
                  </a:cubicBezTo>
                  <a:close/>
                  <a:moveTo>
                    <a:pt x="159" y="108"/>
                  </a:moveTo>
                  <a:cubicBezTo>
                    <a:pt x="154" y="109"/>
                    <a:pt x="154" y="109"/>
                    <a:pt x="154" y="109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9" y="110"/>
                    <a:pt x="159" y="110"/>
                    <a:pt x="159" y="110"/>
                  </a:cubicBezTo>
                  <a:lnTo>
                    <a:pt x="159" y="108"/>
                  </a:lnTo>
                  <a:close/>
                  <a:moveTo>
                    <a:pt x="139" y="107"/>
                  </a:moveTo>
                  <a:cubicBezTo>
                    <a:pt x="147" y="105"/>
                    <a:pt x="147" y="105"/>
                    <a:pt x="147" y="105"/>
                  </a:cubicBezTo>
                  <a:cubicBezTo>
                    <a:pt x="146" y="99"/>
                    <a:pt x="146" y="99"/>
                    <a:pt x="146" y="99"/>
                  </a:cubicBezTo>
                  <a:cubicBezTo>
                    <a:pt x="146" y="99"/>
                    <a:pt x="142" y="104"/>
                    <a:pt x="139" y="104"/>
                  </a:cubicBezTo>
                  <a:cubicBezTo>
                    <a:pt x="137" y="105"/>
                    <a:pt x="131" y="106"/>
                    <a:pt x="131" y="106"/>
                  </a:cubicBezTo>
                  <a:cubicBezTo>
                    <a:pt x="132" y="107"/>
                    <a:pt x="132" y="107"/>
                    <a:pt x="132" y="107"/>
                  </a:cubicBezTo>
                  <a:lnTo>
                    <a:pt x="139" y="107"/>
                  </a:lnTo>
                  <a:close/>
                  <a:moveTo>
                    <a:pt x="110" y="148"/>
                  </a:moveTo>
                  <a:cubicBezTo>
                    <a:pt x="109" y="142"/>
                    <a:pt x="109" y="142"/>
                    <a:pt x="109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0" y="149"/>
                    <a:pt x="100" y="149"/>
                    <a:pt x="100" y="149"/>
                  </a:cubicBezTo>
                  <a:cubicBezTo>
                    <a:pt x="105" y="153"/>
                    <a:pt x="105" y="153"/>
                    <a:pt x="105" y="153"/>
                  </a:cubicBezTo>
                  <a:lnTo>
                    <a:pt x="110" y="148"/>
                  </a:lnTo>
                  <a:close/>
                  <a:moveTo>
                    <a:pt x="145" y="120"/>
                  </a:moveTo>
                  <a:cubicBezTo>
                    <a:pt x="154" y="117"/>
                    <a:pt x="158" y="114"/>
                    <a:pt x="156" y="113"/>
                  </a:cubicBezTo>
                  <a:cubicBezTo>
                    <a:pt x="154" y="112"/>
                    <a:pt x="150" y="112"/>
                    <a:pt x="150" y="112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9"/>
                    <a:pt x="147" y="109"/>
                    <a:pt x="143" y="110"/>
                  </a:cubicBezTo>
                  <a:cubicBezTo>
                    <a:pt x="139" y="110"/>
                    <a:pt x="138" y="113"/>
                    <a:pt x="138" y="113"/>
                  </a:cubicBezTo>
                  <a:cubicBezTo>
                    <a:pt x="138" y="113"/>
                    <a:pt x="131" y="115"/>
                    <a:pt x="131" y="119"/>
                  </a:cubicBezTo>
                  <a:cubicBezTo>
                    <a:pt x="131" y="124"/>
                    <a:pt x="138" y="121"/>
                    <a:pt x="145" y="120"/>
                  </a:cubicBezTo>
                  <a:close/>
                  <a:moveTo>
                    <a:pt x="132" y="140"/>
                  </a:moveTo>
                  <a:cubicBezTo>
                    <a:pt x="135" y="138"/>
                    <a:pt x="135" y="138"/>
                    <a:pt x="135" y="138"/>
                  </a:cubicBezTo>
                  <a:cubicBezTo>
                    <a:pt x="133" y="133"/>
                    <a:pt x="133" y="133"/>
                    <a:pt x="133" y="133"/>
                  </a:cubicBezTo>
                  <a:cubicBezTo>
                    <a:pt x="132" y="135"/>
                    <a:pt x="132" y="135"/>
                    <a:pt x="132" y="135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27" y="133"/>
                    <a:pt x="127" y="133"/>
                    <a:pt x="127" y="133"/>
                  </a:cubicBezTo>
                  <a:lnTo>
                    <a:pt x="132" y="140"/>
                  </a:lnTo>
                  <a:close/>
                  <a:moveTo>
                    <a:pt x="124" y="136"/>
                  </a:moveTo>
                  <a:cubicBezTo>
                    <a:pt x="117" y="136"/>
                    <a:pt x="121" y="140"/>
                    <a:pt x="123" y="140"/>
                  </a:cubicBezTo>
                  <a:cubicBezTo>
                    <a:pt x="126" y="141"/>
                    <a:pt x="130" y="136"/>
                    <a:pt x="124" y="136"/>
                  </a:cubicBezTo>
                  <a:close/>
                  <a:moveTo>
                    <a:pt x="28" y="334"/>
                  </a:moveTo>
                  <a:cubicBezTo>
                    <a:pt x="23" y="335"/>
                    <a:pt x="23" y="335"/>
                    <a:pt x="23" y="335"/>
                  </a:cubicBezTo>
                  <a:cubicBezTo>
                    <a:pt x="23" y="338"/>
                    <a:pt x="23" y="338"/>
                    <a:pt x="23" y="338"/>
                  </a:cubicBezTo>
                  <a:cubicBezTo>
                    <a:pt x="20" y="340"/>
                    <a:pt x="20" y="340"/>
                    <a:pt x="20" y="340"/>
                  </a:cubicBezTo>
                  <a:cubicBezTo>
                    <a:pt x="23" y="342"/>
                    <a:pt x="23" y="342"/>
                    <a:pt x="23" y="342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2"/>
                    <a:pt x="27" y="342"/>
                    <a:pt x="27" y="342"/>
                  </a:cubicBezTo>
                  <a:cubicBezTo>
                    <a:pt x="29" y="340"/>
                    <a:pt x="29" y="340"/>
                    <a:pt x="29" y="340"/>
                  </a:cubicBezTo>
                  <a:lnTo>
                    <a:pt x="28" y="334"/>
                  </a:lnTo>
                  <a:close/>
                  <a:moveTo>
                    <a:pt x="16" y="306"/>
                  </a:moveTo>
                  <a:cubicBezTo>
                    <a:pt x="10" y="302"/>
                    <a:pt x="10" y="302"/>
                    <a:pt x="10" y="302"/>
                  </a:cubicBezTo>
                  <a:cubicBezTo>
                    <a:pt x="9" y="303"/>
                    <a:pt x="9" y="303"/>
                    <a:pt x="9" y="303"/>
                  </a:cubicBezTo>
                  <a:cubicBezTo>
                    <a:pt x="12" y="305"/>
                    <a:pt x="12" y="305"/>
                    <a:pt x="12" y="305"/>
                  </a:cubicBezTo>
                  <a:cubicBezTo>
                    <a:pt x="12" y="309"/>
                    <a:pt x="12" y="309"/>
                    <a:pt x="12" y="309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17" y="312"/>
                    <a:pt x="17" y="312"/>
                    <a:pt x="17" y="312"/>
                  </a:cubicBezTo>
                  <a:lnTo>
                    <a:pt x="16" y="306"/>
                  </a:lnTo>
                  <a:close/>
                  <a:moveTo>
                    <a:pt x="14" y="224"/>
                  </a:moveTo>
                  <a:cubicBezTo>
                    <a:pt x="14" y="220"/>
                    <a:pt x="14" y="220"/>
                    <a:pt x="14" y="220"/>
                  </a:cubicBezTo>
                  <a:cubicBezTo>
                    <a:pt x="12" y="221"/>
                    <a:pt x="12" y="221"/>
                    <a:pt x="12" y="221"/>
                  </a:cubicBezTo>
                  <a:cubicBezTo>
                    <a:pt x="13" y="223"/>
                    <a:pt x="13" y="223"/>
                    <a:pt x="13" y="223"/>
                  </a:cubicBezTo>
                  <a:lnTo>
                    <a:pt x="14" y="224"/>
                  </a:lnTo>
                  <a:close/>
                  <a:moveTo>
                    <a:pt x="15" y="223"/>
                  </a:moveTo>
                  <a:cubicBezTo>
                    <a:pt x="24" y="220"/>
                    <a:pt x="24" y="220"/>
                    <a:pt x="24" y="220"/>
                  </a:cubicBezTo>
                  <a:cubicBezTo>
                    <a:pt x="25" y="217"/>
                    <a:pt x="25" y="217"/>
                    <a:pt x="25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17"/>
                    <a:pt x="15" y="217"/>
                    <a:pt x="15" y="217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6" y="219"/>
                    <a:pt x="16" y="219"/>
                    <a:pt x="16" y="219"/>
                  </a:cubicBezTo>
                  <a:lnTo>
                    <a:pt x="15" y="223"/>
                  </a:lnTo>
                  <a:close/>
                  <a:moveTo>
                    <a:pt x="9" y="269"/>
                  </a:moveTo>
                  <a:cubicBezTo>
                    <a:pt x="11" y="267"/>
                    <a:pt x="11" y="267"/>
                    <a:pt x="11" y="267"/>
                  </a:cubicBezTo>
                  <a:cubicBezTo>
                    <a:pt x="12" y="269"/>
                    <a:pt x="12" y="269"/>
                    <a:pt x="12" y="269"/>
                  </a:cubicBezTo>
                  <a:cubicBezTo>
                    <a:pt x="12" y="269"/>
                    <a:pt x="15" y="267"/>
                    <a:pt x="15" y="265"/>
                  </a:cubicBezTo>
                  <a:cubicBezTo>
                    <a:pt x="15" y="262"/>
                    <a:pt x="12" y="261"/>
                    <a:pt x="12" y="261"/>
                  </a:cubicBezTo>
                  <a:cubicBezTo>
                    <a:pt x="10" y="262"/>
                    <a:pt x="10" y="262"/>
                    <a:pt x="10" y="262"/>
                  </a:cubicBezTo>
                  <a:cubicBezTo>
                    <a:pt x="10" y="262"/>
                    <a:pt x="8" y="266"/>
                    <a:pt x="9" y="269"/>
                  </a:cubicBezTo>
                  <a:close/>
                  <a:moveTo>
                    <a:pt x="20" y="209"/>
                  </a:moveTo>
                  <a:cubicBezTo>
                    <a:pt x="22" y="210"/>
                    <a:pt x="22" y="214"/>
                    <a:pt x="22" y="214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25" y="207"/>
                    <a:pt x="25" y="207"/>
                    <a:pt x="25" y="207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18" y="208"/>
                    <a:pt x="20" y="209"/>
                  </a:cubicBezTo>
                  <a:close/>
                  <a:moveTo>
                    <a:pt x="17" y="249"/>
                  </a:moveTo>
                  <a:cubicBezTo>
                    <a:pt x="14" y="248"/>
                    <a:pt x="14" y="248"/>
                    <a:pt x="14" y="248"/>
                  </a:cubicBezTo>
                  <a:cubicBezTo>
                    <a:pt x="11" y="251"/>
                    <a:pt x="11" y="251"/>
                    <a:pt x="11" y="251"/>
                  </a:cubicBezTo>
                  <a:cubicBezTo>
                    <a:pt x="13" y="253"/>
                    <a:pt x="13" y="253"/>
                    <a:pt x="13" y="253"/>
                  </a:cubicBezTo>
                  <a:lnTo>
                    <a:pt x="17" y="249"/>
                  </a:lnTo>
                  <a:close/>
                  <a:moveTo>
                    <a:pt x="14" y="230"/>
                  </a:moveTo>
                  <a:cubicBezTo>
                    <a:pt x="14" y="226"/>
                    <a:pt x="11" y="226"/>
                    <a:pt x="12" y="229"/>
                  </a:cubicBezTo>
                  <a:cubicBezTo>
                    <a:pt x="12" y="232"/>
                    <a:pt x="14" y="232"/>
                    <a:pt x="14" y="230"/>
                  </a:cubicBezTo>
                  <a:close/>
                  <a:moveTo>
                    <a:pt x="27" y="396"/>
                  </a:moveTo>
                  <a:cubicBezTo>
                    <a:pt x="18" y="394"/>
                    <a:pt x="18" y="394"/>
                    <a:pt x="18" y="394"/>
                  </a:cubicBezTo>
                  <a:cubicBezTo>
                    <a:pt x="26" y="399"/>
                    <a:pt x="26" y="399"/>
                    <a:pt x="26" y="399"/>
                  </a:cubicBezTo>
                  <a:lnTo>
                    <a:pt x="27" y="396"/>
                  </a:lnTo>
                  <a:close/>
                  <a:moveTo>
                    <a:pt x="3" y="269"/>
                  </a:moveTo>
                  <a:cubicBezTo>
                    <a:pt x="0" y="269"/>
                    <a:pt x="1" y="272"/>
                    <a:pt x="2" y="272"/>
                  </a:cubicBezTo>
                  <a:cubicBezTo>
                    <a:pt x="4" y="273"/>
                    <a:pt x="7" y="268"/>
                    <a:pt x="3" y="269"/>
                  </a:cubicBezTo>
                  <a:close/>
                  <a:moveTo>
                    <a:pt x="41" y="329"/>
                  </a:moveTo>
                  <a:cubicBezTo>
                    <a:pt x="39" y="331"/>
                    <a:pt x="39" y="331"/>
                    <a:pt x="39" y="331"/>
                  </a:cubicBezTo>
                  <a:cubicBezTo>
                    <a:pt x="40" y="335"/>
                    <a:pt x="40" y="335"/>
                    <a:pt x="40" y="335"/>
                  </a:cubicBezTo>
                  <a:cubicBezTo>
                    <a:pt x="43" y="332"/>
                    <a:pt x="43" y="332"/>
                    <a:pt x="43" y="332"/>
                  </a:cubicBezTo>
                  <a:lnTo>
                    <a:pt x="41" y="329"/>
                  </a:lnTo>
                  <a:close/>
                  <a:moveTo>
                    <a:pt x="36" y="385"/>
                  </a:moveTo>
                  <a:cubicBezTo>
                    <a:pt x="32" y="385"/>
                    <a:pt x="32" y="385"/>
                    <a:pt x="32" y="385"/>
                  </a:cubicBezTo>
                  <a:cubicBezTo>
                    <a:pt x="30" y="390"/>
                    <a:pt x="30" y="390"/>
                    <a:pt x="30" y="390"/>
                  </a:cubicBezTo>
                  <a:cubicBezTo>
                    <a:pt x="38" y="389"/>
                    <a:pt x="38" y="389"/>
                    <a:pt x="38" y="389"/>
                  </a:cubicBezTo>
                  <a:lnTo>
                    <a:pt x="36" y="385"/>
                  </a:lnTo>
                  <a:close/>
                  <a:moveTo>
                    <a:pt x="8" y="378"/>
                  </a:moveTo>
                  <a:cubicBezTo>
                    <a:pt x="8" y="378"/>
                    <a:pt x="7" y="384"/>
                    <a:pt x="8" y="385"/>
                  </a:cubicBezTo>
                  <a:cubicBezTo>
                    <a:pt x="9" y="387"/>
                    <a:pt x="6" y="391"/>
                    <a:pt x="6" y="391"/>
                  </a:cubicBezTo>
                  <a:cubicBezTo>
                    <a:pt x="9" y="391"/>
                    <a:pt x="9" y="391"/>
                    <a:pt x="9" y="391"/>
                  </a:cubicBezTo>
                  <a:cubicBezTo>
                    <a:pt x="11" y="389"/>
                    <a:pt x="11" y="389"/>
                    <a:pt x="11" y="389"/>
                  </a:cubicBezTo>
                  <a:cubicBezTo>
                    <a:pt x="11" y="383"/>
                    <a:pt x="11" y="383"/>
                    <a:pt x="11" y="383"/>
                  </a:cubicBezTo>
                  <a:cubicBezTo>
                    <a:pt x="10" y="376"/>
                    <a:pt x="10" y="376"/>
                    <a:pt x="10" y="376"/>
                  </a:cubicBezTo>
                  <a:lnTo>
                    <a:pt x="8" y="378"/>
                  </a:lnTo>
                  <a:close/>
                  <a:moveTo>
                    <a:pt x="314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4" y="3"/>
                    <a:pt x="246" y="7"/>
                    <a:pt x="246" y="7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3" y="11"/>
                    <a:pt x="243" y="11"/>
                    <a:pt x="243" y="11"/>
                  </a:cubicBezTo>
                  <a:cubicBezTo>
                    <a:pt x="248" y="7"/>
                    <a:pt x="248" y="7"/>
                    <a:pt x="248" y="7"/>
                  </a:cubicBezTo>
                  <a:cubicBezTo>
                    <a:pt x="248" y="4"/>
                    <a:pt x="248" y="4"/>
                    <a:pt x="248" y="4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54" y="10"/>
                    <a:pt x="254" y="10"/>
                    <a:pt x="254" y="10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68" y="3"/>
                    <a:pt x="268" y="3"/>
                    <a:pt x="268" y="3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56" y="18"/>
                    <a:pt x="256" y="18"/>
                    <a:pt x="256" y="18"/>
                  </a:cubicBezTo>
                  <a:cubicBezTo>
                    <a:pt x="252" y="19"/>
                    <a:pt x="252" y="19"/>
                    <a:pt x="252" y="19"/>
                  </a:cubicBezTo>
                  <a:cubicBezTo>
                    <a:pt x="249" y="12"/>
                    <a:pt x="249" y="12"/>
                    <a:pt x="249" y="12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3" y="15"/>
                    <a:pt x="239" y="15"/>
                    <a:pt x="239" y="17"/>
                  </a:cubicBezTo>
                  <a:cubicBezTo>
                    <a:pt x="239" y="18"/>
                    <a:pt x="235" y="26"/>
                    <a:pt x="231" y="26"/>
                  </a:cubicBezTo>
                  <a:cubicBezTo>
                    <a:pt x="228" y="27"/>
                    <a:pt x="222" y="31"/>
                    <a:pt x="222" y="31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24" y="33"/>
                    <a:pt x="216" y="37"/>
                    <a:pt x="221" y="41"/>
                  </a:cubicBezTo>
                  <a:cubicBezTo>
                    <a:pt x="224" y="43"/>
                    <a:pt x="231" y="32"/>
                    <a:pt x="231" y="32"/>
                  </a:cubicBezTo>
                  <a:cubicBezTo>
                    <a:pt x="242" y="27"/>
                    <a:pt x="242" y="27"/>
                    <a:pt x="242" y="27"/>
                  </a:cubicBezTo>
                  <a:cubicBezTo>
                    <a:pt x="233" y="34"/>
                    <a:pt x="233" y="34"/>
                    <a:pt x="233" y="34"/>
                  </a:cubicBezTo>
                  <a:cubicBezTo>
                    <a:pt x="238" y="37"/>
                    <a:pt x="238" y="37"/>
                    <a:pt x="238" y="37"/>
                  </a:cubicBezTo>
                  <a:cubicBezTo>
                    <a:pt x="238" y="37"/>
                    <a:pt x="232" y="38"/>
                    <a:pt x="228" y="41"/>
                  </a:cubicBezTo>
                  <a:cubicBezTo>
                    <a:pt x="223" y="43"/>
                    <a:pt x="226" y="48"/>
                    <a:pt x="226" y="48"/>
                  </a:cubicBezTo>
                  <a:cubicBezTo>
                    <a:pt x="223" y="49"/>
                    <a:pt x="223" y="49"/>
                    <a:pt x="223" y="49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5" y="48"/>
                    <a:pt x="219" y="54"/>
                    <a:pt x="221" y="56"/>
                  </a:cubicBezTo>
                  <a:cubicBezTo>
                    <a:pt x="222" y="58"/>
                    <a:pt x="231" y="50"/>
                    <a:pt x="231" y="50"/>
                  </a:cubicBezTo>
                  <a:cubicBezTo>
                    <a:pt x="226" y="59"/>
                    <a:pt x="226" y="59"/>
                    <a:pt x="226" y="59"/>
                  </a:cubicBezTo>
                  <a:cubicBezTo>
                    <a:pt x="221" y="62"/>
                    <a:pt x="221" y="62"/>
                    <a:pt x="221" y="62"/>
                  </a:cubicBezTo>
                  <a:cubicBezTo>
                    <a:pt x="213" y="50"/>
                    <a:pt x="213" y="50"/>
                    <a:pt x="213" y="50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8" y="62"/>
                    <a:pt x="198" y="62"/>
                    <a:pt x="198" y="62"/>
                  </a:cubicBezTo>
                  <a:cubicBezTo>
                    <a:pt x="203" y="65"/>
                    <a:pt x="203" y="65"/>
                    <a:pt x="203" y="65"/>
                  </a:cubicBezTo>
                  <a:cubicBezTo>
                    <a:pt x="198" y="66"/>
                    <a:pt x="198" y="66"/>
                    <a:pt x="198" y="66"/>
                  </a:cubicBezTo>
                  <a:cubicBezTo>
                    <a:pt x="198" y="66"/>
                    <a:pt x="189" y="76"/>
                    <a:pt x="188" y="77"/>
                  </a:cubicBezTo>
                  <a:cubicBezTo>
                    <a:pt x="188" y="78"/>
                    <a:pt x="191" y="81"/>
                    <a:pt x="191" y="81"/>
                  </a:cubicBezTo>
                  <a:cubicBezTo>
                    <a:pt x="184" y="80"/>
                    <a:pt x="184" y="80"/>
                    <a:pt x="184" y="80"/>
                  </a:cubicBezTo>
                  <a:cubicBezTo>
                    <a:pt x="182" y="89"/>
                    <a:pt x="182" y="89"/>
                    <a:pt x="182" y="89"/>
                  </a:cubicBezTo>
                  <a:cubicBezTo>
                    <a:pt x="182" y="89"/>
                    <a:pt x="188" y="89"/>
                    <a:pt x="188" y="91"/>
                  </a:cubicBezTo>
                  <a:cubicBezTo>
                    <a:pt x="188" y="93"/>
                    <a:pt x="179" y="95"/>
                    <a:pt x="174" y="96"/>
                  </a:cubicBezTo>
                  <a:cubicBezTo>
                    <a:pt x="169" y="98"/>
                    <a:pt x="169" y="108"/>
                    <a:pt x="169" y="108"/>
                  </a:cubicBezTo>
                  <a:cubicBezTo>
                    <a:pt x="169" y="108"/>
                    <a:pt x="184" y="100"/>
                    <a:pt x="183" y="105"/>
                  </a:cubicBezTo>
                  <a:cubicBezTo>
                    <a:pt x="183" y="109"/>
                    <a:pt x="176" y="108"/>
                    <a:pt x="176" y="108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82" y="113"/>
                    <a:pt x="182" y="113"/>
                    <a:pt x="182" y="113"/>
                  </a:cubicBezTo>
                  <a:cubicBezTo>
                    <a:pt x="179" y="116"/>
                    <a:pt x="179" y="116"/>
                    <a:pt x="179" y="116"/>
                  </a:cubicBezTo>
                  <a:cubicBezTo>
                    <a:pt x="181" y="120"/>
                    <a:pt x="181" y="120"/>
                    <a:pt x="181" y="120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202" y="108"/>
                    <a:pt x="203" y="107"/>
                  </a:cubicBezTo>
                  <a:cubicBezTo>
                    <a:pt x="205" y="106"/>
                    <a:pt x="206" y="104"/>
                    <a:pt x="209" y="103"/>
                  </a:cubicBezTo>
                  <a:cubicBezTo>
                    <a:pt x="211" y="103"/>
                    <a:pt x="213" y="99"/>
                    <a:pt x="213" y="96"/>
                  </a:cubicBezTo>
                  <a:cubicBezTo>
                    <a:pt x="213" y="93"/>
                    <a:pt x="202" y="98"/>
                    <a:pt x="202" y="98"/>
                  </a:cubicBezTo>
                  <a:cubicBezTo>
                    <a:pt x="202" y="98"/>
                    <a:pt x="209" y="93"/>
                    <a:pt x="212" y="91"/>
                  </a:cubicBezTo>
                  <a:cubicBezTo>
                    <a:pt x="214" y="90"/>
                    <a:pt x="215" y="85"/>
                    <a:pt x="221" y="85"/>
                  </a:cubicBezTo>
                  <a:cubicBezTo>
                    <a:pt x="225" y="85"/>
                    <a:pt x="226" y="89"/>
                    <a:pt x="226" y="89"/>
                  </a:cubicBezTo>
                  <a:cubicBezTo>
                    <a:pt x="215" y="94"/>
                    <a:pt x="215" y="94"/>
                    <a:pt x="215" y="94"/>
                  </a:cubicBezTo>
                  <a:cubicBezTo>
                    <a:pt x="214" y="97"/>
                    <a:pt x="214" y="97"/>
                    <a:pt x="214" y="97"/>
                  </a:cubicBezTo>
                  <a:cubicBezTo>
                    <a:pt x="214" y="97"/>
                    <a:pt x="223" y="97"/>
                    <a:pt x="224" y="100"/>
                  </a:cubicBezTo>
                  <a:cubicBezTo>
                    <a:pt x="224" y="104"/>
                    <a:pt x="214" y="106"/>
                    <a:pt x="211" y="107"/>
                  </a:cubicBezTo>
                  <a:cubicBezTo>
                    <a:pt x="208" y="107"/>
                    <a:pt x="203" y="112"/>
                    <a:pt x="202" y="115"/>
                  </a:cubicBezTo>
                  <a:cubicBezTo>
                    <a:pt x="202" y="119"/>
                    <a:pt x="206" y="113"/>
                    <a:pt x="208" y="114"/>
                  </a:cubicBezTo>
                  <a:cubicBezTo>
                    <a:pt x="209" y="116"/>
                    <a:pt x="206" y="117"/>
                    <a:pt x="205" y="119"/>
                  </a:cubicBezTo>
                  <a:cubicBezTo>
                    <a:pt x="203" y="121"/>
                    <a:pt x="208" y="122"/>
                    <a:pt x="208" y="122"/>
                  </a:cubicBezTo>
                  <a:cubicBezTo>
                    <a:pt x="205" y="124"/>
                    <a:pt x="205" y="124"/>
                    <a:pt x="205" y="124"/>
                  </a:cubicBezTo>
                  <a:cubicBezTo>
                    <a:pt x="205" y="124"/>
                    <a:pt x="194" y="121"/>
                    <a:pt x="188" y="123"/>
                  </a:cubicBezTo>
                  <a:cubicBezTo>
                    <a:pt x="181" y="125"/>
                    <a:pt x="187" y="130"/>
                    <a:pt x="187" y="130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80" y="123"/>
                    <a:pt x="180" y="123"/>
                    <a:pt x="180" y="123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58" y="117"/>
                    <a:pt x="158" y="117"/>
                    <a:pt x="158" y="117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164" y="122"/>
                    <a:pt x="164" y="122"/>
                    <a:pt x="164" y="122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62" y="128"/>
                    <a:pt x="162" y="128"/>
                    <a:pt x="162" y="128"/>
                  </a:cubicBezTo>
                  <a:cubicBezTo>
                    <a:pt x="150" y="130"/>
                    <a:pt x="150" y="130"/>
                    <a:pt x="150" y="130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47" y="125"/>
                    <a:pt x="147" y="125"/>
                    <a:pt x="147" y="125"/>
                  </a:cubicBezTo>
                  <a:cubicBezTo>
                    <a:pt x="145" y="123"/>
                    <a:pt x="145" y="123"/>
                    <a:pt x="145" y="123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34" y="132"/>
                    <a:pt x="134" y="132"/>
                    <a:pt x="134" y="132"/>
                  </a:cubicBezTo>
                  <a:cubicBezTo>
                    <a:pt x="139" y="138"/>
                    <a:pt x="139" y="138"/>
                    <a:pt x="139" y="138"/>
                  </a:cubicBezTo>
                  <a:cubicBezTo>
                    <a:pt x="143" y="139"/>
                    <a:pt x="143" y="139"/>
                    <a:pt x="143" y="139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5" y="143"/>
                    <a:pt x="135" y="143"/>
                    <a:pt x="135" y="143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6" y="146"/>
                    <a:pt x="126" y="146"/>
                    <a:pt x="126" y="146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9" y="153"/>
                    <a:pt x="139" y="153"/>
                    <a:pt x="139" y="153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7" y="159"/>
                    <a:pt x="137" y="159"/>
                    <a:pt x="137" y="159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0" y="158"/>
                    <a:pt x="130" y="158"/>
                    <a:pt x="130" y="158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14" y="148"/>
                    <a:pt x="114" y="148"/>
                    <a:pt x="114" y="14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23" y="154"/>
                    <a:pt x="123" y="154"/>
                    <a:pt x="123" y="154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132" y="168"/>
                    <a:pt x="132" y="168"/>
                    <a:pt x="132" y="168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12" y="151"/>
                    <a:pt x="112" y="151"/>
                    <a:pt x="112" y="151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96" y="148"/>
                    <a:pt x="92" y="148"/>
                    <a:pt x="85" y="153"/>
                  </a:cubicBezTo>
                  <a:cubicBezTo>
                    <a:pt x="80" y="158"/>
                    <a:pt x="93" y="158"/>
                    <a:pt x="94" y="160"/>
                  </a:cubicBezTo>
                  <a:cubicBezTo>
                    <a:pt x="94" y="162"/>
                    <a:pt x="91" y="161"/>
                    <a:pt x="88" y="161"/>
                  </a:cubicBezTo>
                  <a:cubicBezTo>
                    <a:pt x="83" y="162"/>
                    <a:pt x="87" y="168"/>
                    <a:pt x="87" y="168"/>
                  </a:cubicBezTo>
                  <a:cubicBezTo>
                    <a:pt x="87" y="168"/>
                    <a:pt x="104" y="162"/>
                    <a:pt x="105" y="164"/>
                  </a:cubicBezTo>
                  <a:cubicBezTo>
                    <a:pt x="106" y="166"/>
                    <a:pt x="99" y="166"/>
                    <a:pt x="99" y="166"/>
                  </a:cubicBezTo>
                  <a:cubicBezTo>
                    <a:pt x="99" y="169"/>
                    <a:pt x="99" y="169"/>
                    <a:pt x="99" y="169"/>
                  </a:cubicBezTo>
                  <a:cubicBezTo>
                    <a:pt x="99" y="169"/>
                    <a:pt x="108" y="166"/>
                    <a:pt x="113" y="164"/>
                  </a:cubicBezTo>
                  <a:cubicBezTo>
                    <a:pt x="118" y="164"/>
                    <a:pt x="122" y="170"/>
                    <a:pt x="122" y="170"/>
                  </a:cubicBezTo>
                  <a:cubicBezTo>
                    <a:pt x="122" y="170"/>
                    <a:pt x="117" y="167"/>
                    <a:pt x="114" y="166"/>
                  </a:cubicBezTo>
                  <a:cubicBezTo>
                    <a:pt x="112" y="166"/>
                    <a:pt x="104" y="169"/>
                    <a:pt x="104" y="169"/>
                  </a:cubicBezTo>
                  <a:cubicBezTo>
                    <a:pt x="104" y="174"/>
                    <a:pt x="104" y="174"/>
                    <a:pt x="104" y="174"/>
                  </a:cubicBezTo>
                  <a:cubicBezTo>
                    <a:pt x="102" y="172"/>
                    <a:pt x="102" y="172"/>
                    <a:pt x="102" y="172"/>
                  </a:cubicBezTo>
                  <a:cubicBezTo>
                    <a:pt x="100" y="173"/>
                    <a:pt x="100" y="173"/>
                    <a:pt x="100" y="173"/>
                  </a:cubicBezTo>
                  <a:cubicBezTo>
                    <a:pt x="102" y="177"/>
                    <a:pt x="102" y="177"/>
                    <a:pt x="10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96" y="175"/>
                    <a:pt x="96" y="175"/>
                    <a:pt x="96" y="175"/>
                  </a:cubicBezTo>
                  <a:cubicBezTo>
                    <a:pt x="92" y="173"/>
                    <a:pt x="92" y="173"/>
                    <a:pt x="92" y="173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0" y="172"/>
                    <a:pt x="87" y="171"/>
                  </a:cubicBezTo>
                  <a:cubicBezTo>
                    <a:pt x="83" y="170"/>
                    <a:pt x="83" y="174"/>
                    <a:pt x="83" y="174"/>
                  </a:cubicBezTo>
                  <a:cubicBezTo>
                    <a:pt x="83" y="174"/>
                    <a:pt x="81" y="172"/>
                    <a:pt x="80" y="171"/>
                  </a:cubicBezTo>
                  <a:cubicBezTo>
                    <a:pt x="78" y="171"/>
                    <a:pt x="74" y="174"/>
                    <a:pt x="74" y="174"/>
                  </a:cubicBezTo>
                  <a:cubicBezTo>
                    <a:pt x="74" y="174"/>
                    <a:pt x="72" y="173"/>
                    <a:pt x="69" y="172"/>
                  </a:cubicBezTo>
                  <a:cubicBezTo>
                    <a:pt x="66" y="172"/>
                    <a:pt x="65" y="175"/>
                    <a:pt x="63" y="178"/>
                  </a:cubicBezTo>
                  <a:cubicBezTo>
                    <a:pt x="62" y="180"/>
                    <a:pt x="74" y="177"/>
                    <a:pt x="74" y="177"/>
                  </a:cubicBezTo>
                  <a:cubicBezTo>
                    <a:pt x="74" y="177"/>
                    <a:pt x="82" y="183"/>
                    <a:pt x="84" y="185"/>
                  </a:cubicBezTo>
                  <a:cubicBezTo>
                    <a:pt x="85" y="186"/>
                    <a:pt x="84" y="191"/>
                    <a:pt x="84" y="191"/>
                  </a:cubicBezTo>
                  <a:cubicBezTo>
                    <a:pt x="87" y="194"/>
                    <a:pt x="87" y="194"/>
                    <a:pt x="87" y="194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4" y="194"/>
                    <a:pt x="94" y="194"/>
                    <a:pt x="94" y="194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87" y="199"/>
                    <a:pt x="87" y="199"/>
                    <a:pt x="87" y="199"/>
                  </a:cubicBezTo>
                  <a:cubicBezTo>
                    <a:pt x="83" y="205"/>
                    <a:pt x="83" y="205"/>
                    <a:pt x="83" y="205"/>
                  </a:cubicBezTo>
                  <a:cubicBezTo>
                    <a:pt x="85" y="207"/>
                    <a:pt x="85" y="207"/>
                    <a:pt x="85" y="207"/>
                  </a:cubicBezTo>
                  <a:cubicBezTo>
                    <a:pt x="80" y="206"/>
                    <a:pt x="80" y="206"/>
                    <a:pt x="80" y="206"/>
                  </a:cubicBezTo>
                  <a:cubicBezTo>
                    <a:pt x="84" y="198"/>
                    <a:pt x="84" y="198"/>
                    <a:pt x="84" y="198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5"/>
                    <a:pt x="82" y="185"/>
                    <a:pt x="82" y="185"/>
                  </a:cubicBezTo>
                  <a:cubicBezTo>
                    <a:pt x="73" y="184"/>
                    <a:pt x="73" y="184"/>
                    <a:pt x="73" y="184"/>
                  </a:cubicBezTo>
                  <a:cubicBezTo>
                    <a:pt x="73" y="188"/>
                    <a:pt x="73" y="188"/>
                    <a:pt x="73" y="188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72" y="202"/>
                    <a:pt x="72" y="202"/>
                    <a:pt x="72" y="20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68" y="198"/>
                    <a:pt x="68" y="198"/>
                    <a:pt x="68" y="198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5" y="193"/>
                    <a:pt x="66" y="189"/>
                    <a:pt x="63" y="188"/>
                  </a:cubicBezTo>
                  <a:cubicBezTo>
                    <a:pt x="61" y="187"/>
                    <a:pt x="52" y="194"/>
                    <a:pt x="52" y="194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0" y="198"/>
                    <a:pt x="50" y="198"/>
                    <a:pt x="50" y="198"/>
                  </a:cubicBezTo>
                  <a:cubicBezTo>
                    <a:pt x="50" y="198"/>
                    <a:pt x="52" y="199"/>
                    <a:pt x="55" y="201"/>
                  </a:cubicBezTo>
                  <a:cubicBezTo>
                    <a:pt x="57" y="204"/>
                    <a:pt x="61" y="207"/>
                    <a:pt x="61" y="207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2" y="204"/>
                    <a:pt x="52" y="204"/>
                    <a:pt x="52" y="204"/>
                  </a:cubicBezTo>
                  <a:cubicBezTo>
                    <a:pt x="48" y="208"/>
                    <a:pt x="48" y="208"/>
                    <a:pt x="48" y="208"/>
                  </a:cubicBezTo>
                  <a:cubicBezTo>
                    <a:pt x="51" y="201"/>
                    <a:pt x="51" y="201"/>
                    <a:pt x="51" y="201"/>
                  </a:cubicBezTo>
                  <a:cubicBezTo>
                    <a:pt x="51" y="201"/>
                    <a:pt x="50" y="199"/>
                    <a:pt x="46" y="199"/>
                  </a:cubicBezTo>
                  <a:cubicBezTo>
                    <a:pt x="42" y="199"/>
                    <a:pt x="43" y="203"/>
                    <a:pt x="43" y="203"/>
                  </a:cubicBezTo>
                  <a:cubicBezTo>
                    <a:pt x="43" y="203"/>
                    <a:pt x="40" y="199"/>
                    <a:pt x="38" y="199"/>
                  </a:cubicBezTo>
                  <a:cubicBezTo>
                    <a:pt x="34" y="199"/>
                    <a:pt x="33" y="203"/>
                    <a:pt x="33" y="203"/>
                  </a:cubicBezTo>
                  <a:cubicBezTo>
                    <a:pt x="39" y="206"/>
                    <a:pt x="39" y="206"/>
                    <a:pt x="39" y="206"/>
                  </a:cubicBezTo>
                  <a:cubicBezTo>
                    <a:pt x="38" y="207"/>
                    <a:pt x="38" y="207"/>
                    <a:pt x="38" y="207"/>
                  </a:cubicBezTo>
                  <a:cubicBezTo>
                    <a:pt x="31" y="202"/>
                    <a:pt x="31" y="202"/>
                    <a:pt x="31" y="202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8" y="196"/>
                    <a:pt x="28" y="196"/>
                    <a:pt x="28" y="196"/>
                  </a:cubicBezTo>
                  <a:cubicBezTo>
                    <a:pt x="25" y="200"/>
                    <a:pt x="25" y="200"/>
                    <a:pt x="25" y="200"/>
                  </a:cubicBezTo>
                  <a:cubicBezTo>
                    <a:pt x="26" y="202"/>
                    <a:pt x="26" y="202"/>
                    <a:pt x="26" y="202"/>
                  </a:cubicBezTo>
                  <a:cubicBezTo>
                    <a:pt x="26" y="202"/>
                    <a:pt x="32" y="207"/>
                    <a:pt x="32" y="209"/>
                  </a:cubicBezTo>
                  <a:cubicBezTo>
                    <a:pt x="31" y="212"/>
                    <a:pt x="25" y="211"/>
                    <a:pt x="25" y="215"/>
                  </a:cubicBezTo>
                  <a:cubicBezTo>
                    <a:pt x="25" y="218"/>
                    <a:pt x="34" y="214"/>
                    <a:pt x="34" y="214"/>
                  </a:cubicBezTo>
                  <a:cubicBezTo>
                    <a:pt x="50" y="218"/>
                    <a:pt x="50" y="218"/>
                    <a:pt x="50" y="218"/>
                  </a:cubicBezTo>
                  <a:cubicBezTo>
                    <a:pt x="49" y="219"/>
                    <a:pt x="49" y="219"/>
                    <a:pt x="49" y="219"/>
                  </a:cubicBezTo>
                  <a:cubicBezTo>
                    <a:pt x="64" y="223"/>
                    <a:pt x="64" y="223"/>
                    <a:pt x="64" y="223"/>
                  </a:cubicBezTo>
                  <a:cubicBezTo>
                    <a:pt x="71" y="220"/>
                    <a:pt x="71" y="220"/>
                    <a:pt x="71" y="220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78" y="223"/>
                    <a:pt x="78" y="223"/>
                    <a:pt x="78" y="223"/>
                  </a:cubicBezTo>
                  <a:cubicBezTo>
                    <a:pt x="72" y="222"/>
                    <a:pt x="72" y="222"/>
                    <a:pt x="72" y="222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5" y="224"/>
                    <a:pt x="55" y="224"/>
                    <a:pt x="55" y="224"/>
                  </a:cubicBezTo>
                  <a:cubicBezTo>
                    <a:pt x="55" y="224"/>
                    <a:pt x="42" y="217"/>
                    <a:pt x="35" y="217"/>
                  </a:cubicBezTo>
                  <a:cubicBezTo>
                    <a:pt x="28" y="217"/>
                    <a:pt x="29" y="220"/>
                    <a:pt x="29" y="220"/>
                  </a:cubicBezTo>
                  <a:cubicBezTo>
                    <a:pt x="29" y="220"/>
                    <a:pt x="28" y="220"/>
                    <a:pt x="25" y="222"/>
                  </a:cubicBezTo>
                  <a:cubicBezTo>
                    <a:pt x="23" y="223"/>
                    <a:pt x="25" y="226"/>
                    <a:pt x="25" y="226"/>
                  </a:cubicBezTo>
                  <a:cubicBezTo>
                    <a:pt x="25" y="226"/>
                    <a:pt x="19" y="225"/>
                    <a:pt x="17" y="229"/>
                  </a:cubicBezTo>
                  <a:cubicBezTo>
                    <a:pt x="16" y="232"/>
                    <a:pt x="19" y="233"/>
                    <a:pt x="19" y="233"/>
                  </a:cubicBezTo>
                  <a:cubicBezTo>
                    <a:pt x="27" y="233"/>
                    <a:pt x="27" y="233"/>
                    <a:pt x="27" y="233"/>
                  </a:cubicBezTo>
                  <a:cubicBezTo>
                    <a:pt x="32" y="237"/>
                    <a:pt x="32" y="237"/>
                    <a:pt x="32" y="237"/>
                  </a:cubicBezTo>
                  <a:cubicBezTo>
                    <a:pt x="26" y="235"/>
                    <a:pt x="26" y="235"/>
                    <a:pt x="26" y="235"/>
                  </a:cubicBezTo>
                  <a:cubicBezTo>
                    <a:pt x="24" y="237"/>
                    <a:pt x="24" y="237"/>
                    <a:pt x="24" y="237"/>
                  </a:cubicBezTo>
                  <a:cubicBezTo>
                    <a:pt x="28" y="239"/>
                    <a:pt x="28" y="239"/>
                    <a:pt x="28" y="239"/>
                  </a:cubicBezTo>
                  <a:cubicBezTo>
                    <a:pt x="23" y="239"/>
                    <a:pt x="23" y="239"/>
                    <a:pt x="23" y="239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32" y="243"/>
                    <a:pt x="32" y="243"/>
                    <a:pt x="32" y="24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17" y="248"/>
                    <a:pt x="17" y="248"/>
                    <a:pt x="17" y="248"/>
                  </a:cubicBezTo>
                  <a:cubicBezTo>
                    <a:pt x="20" y="248"/>
                    <a:pt x="20" y="248"/>
                    <a:pt x="20" y="248"/>
                  </a:cubicBezTo>
                  <a:cubicBezTo>
                    <a:pt x="20" y="251"/>
                    <a:pt x="20" y="251"/>
                    <a:pt x="20" y="251"/>
                  </a:cubicBezTo>
                  <a:cubicBezTo>
                    <a:pt x="30" y="251"/>
                    <a:pt x="30" y="251"/>
                    <a:pt x="30" y="251"/>
                  </a:cubicBezTo>
                  <a:cubicBezTo>
                    <a:pt x="17" y="254"/>
                    <a:pt x="17" y="254"/>
                    <a:pt x="17" y="254"/>
                  </a:cubicBezTo>
                  <a:cubicBezTo>
                    <a:pt x="15" y="258"/>
                    <a:pt x="15" y="258"/>
                    <a:pt x="15" y="258"/>
                  </a:cubicBezTo>
                  <a:cubicBezTo>
                    <a:pt x="22" y="261"/>
                    <a:pt x="22" y="261"/>
                    <a:pt x="22" y="261"/>
                  </a:cubicBezTo>
                  <a:cubicBezTo>
                    <a:pt x="18" y="261"/>
                    <a:pt x="18" y="261"/>
                    <a:pt x="18" y="261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6" y="266"/>
                    <a:pt x="26" y="266"/>
                    <a:pt x="26" y="266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55" y="265"/>
                    <a:pt x="55" y="265"/>
                    <a:pt x="55" y="265"/>
                  </a:cubicBezTo>
                  <a:cubicBezTo>
                    <a:pt x="55" y="265"/>
                    <a:pt x="56" y="268"/>
                    <a:pt x="61" y="268"/>
                  </a:cubicBezTo>
                  <a:cubicBezTo>
                    <a:pt x="65" y="268"/>
                    <a:pt x="63" y="259"/>
                    <a:pt x="63" y="259"/>
                  </a:cubicBezTo>
                  <a:cubicBezTo>
                    <a:pt x="66" y="258"/>
                    <a:pt x="66" y="258"/>
                    <a:pt x="66" y="258"/>
                  </a:cubicBezTo>
                  <a:cubicBezTo>
                    <a:pt x="71" y="252"/>
                    <a:pt x="71" y="252"/>
                    <a:pt x="71" y="252"/>
                  </a:cubicBezTo>
                  <a:cubicBezTo>
                    <a:pt x="72" y="253"/>
                    <a:pt x="72" y="253"/>
                    <a:pt x="72" y="253"/>
                  </a:cubicBezTo>
                  <a:cubicBezTo>
                    <a:pt x="67" y="261"/>
                    <a:pt x="67" y="261"/>
                    <a:pt x="67" y="261"/>
                  </a:cubicBezTo>
                  <a:cubicBezTo>
                    <a:pt x="69" y="265"/>
                    <a:pt x="69" y="265"/>
                    <a:pt x="69" y="265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83" y="262"/>
                    <a:pt x="83" y="262"/>
                    <a:pt x="83" y="262"/>
                  </a:cubicBezTo>
                  <a:cubicBezTo>
                    <a:pt x="83" y="266"/>
                    <a:pt x="83" y="266"/>
                    <a:pt x="83" y="266"/>
                  </a:cubicBezTo>
                  <a:cubicBezTo>
                    <a:pt x="76" y="268"/>
                    <a:pt x="76" y="268"/>
                    <a:pt x="76" y="268"/>
                  </a:cubicBezTo>
                  <a:cubicBezTo>
                    <a:pt x="78" y="270"/>
                    <a:pt x="78" y="270"/>
                    <a:pt x="78" y="270"/>
                  </a:cubicBezTo>
                  <a:cubicBezTo>
                    <a:pt x="90" y="266"/>
                    <a:pt x="90" y="266"/>
                    <a:pt x="90" y="266"/>
                  </a:cubicBezTo>
                  <a:cubicBezTo>
                    <a:pt x="89" y="259"/>
                    <a:pt x="89" y="259"/>
                    <a:pt x="89" y="259"/>
                  </a:cubicBezTo>
                  <a:cubicBezTo>
                    <a:pt x="89" y="259"/>
                    <a:pt x="91" y="255"/>
                    <a:pt x="93" y="252"/>
                  </a:cubicBezTo>
                  <a:cubicBezTo>
                    <a:pt x="94" y="250"/>
                    <a:pt x="98" y="247"/>
                    <a:pt x="98" y="247"/>
                  </a:cubicBezTo>
                  <a:cubicBezTo>
                    <a:pt x="99" y="249"/>
                    <a:pt x="99" y="249"/>
                    <a:pt x="99" y="249"/>
                  </a:cubicBezTo>
                  <a:cubicBezTo>
                    <a:pt x="99" y="249"/>
                    <a:pt x="97" y="251"/>
                    <a:pt x="95" y="253"/>
                  </a:cubicBezTo>
                  <a:cubicBezTo>
                    <a:pt x="93" y="254"/>
                    <a:pt x="90" y="259"/>
                    <a:pt x="90" y="259"/>
                  </a:cubicBezTo>
                  <a:cubicBezTo>
                    <a:pt x="92" y="262"/>
                    <a:pt x="92" y="262"/>
                    <a:pt x="92" y="262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6" y="267"/>
                    <a:pt x="96" y="267"/>
                    <a:pt x="96" y="267"/>
                  </a:cubicBezTo>
                  <a:cubicBezTo>
                    <a:pt x="92" y="268"/>
                    <a:pt x="92" y="268"/>
                    <a:pt x="92" y="268"/>
                  </a:cubicBezTo>
                  <a:cubicBezTo>
                    <a:pt x="92" y="271"/>
                    <a:pt x="92" y="271"/>
                    <a:pt x="92" y="271"/>
                  </a:cubicBezTo>
                  <a:cubicBezTo>
                    <a:pt x="88" y="269"/>
                    <a:pt x="88" y="269"/>
                    <a:pt x="88" y="269"/>
                  </a:cubicBezTo>
                  <a:cubicBezTo>
                    <a:pt x="80" y="271"/>
                    <a:pt x="80" y="271"/>
                    <a:pt x="80" y="271"/>
                  </a:cubicBezTo>
                  <a:cubicBezTo>
                    <a:pt x="80" y="277"/>
                    <a:pt x="80" y="277"/>
                    <a:pt x="80" y="277"/>
                  </a:cubicBezTo>
                  <a:cubicBezTo>
                    <a:pt x="82" y="282"/>
                    <a:pt x="82" y="282"/>
                    <a:pt x="82" y="282"/>
                  </a:cubicBezTo>
                  <a:cubicBezTo>
                    <a:pt x="79" y="279"/>
                    <a:pt x="79" y="279"/>
                    <a:pt x="79" y="279"/>
                  </a:cubicBezTo>
                  <a:cubicBezTo>
                    <a:pt x="76" y="281"/>
                    <a:pt x="76" y="281"/>
                    <a:pt x="76" y="281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7" y="272"/>
                    <a:pt x="77" y="272"/>
                    <a:pt x="77" y="272"/>
                  </a:cubicBezTo>
                  <a:cubicBezTo>
                    <a:pt x="75" y="272"/>
                    <a:pt x="75" y="272"/>
                    <a:pt x="75" y="272"/>
                  </a:cubicBezTo>
                  <a:cubicBezTo>
                    <a:pt x="74" y="269"/>
                    <a:pt x="74" y="269"/>
                    <a:pt x="74" y="269"/>
                  </a:cubicBezTo>
                  <a:cubicBezTo>
                    <a:pt x="74" y="269"/>
                    <a:pt x="67" y="267"/>
                    <a:pt x="66" y="266"/>
                  </a:cubicBezTo>
                  <a:cubicBezTo>
                    <a:pt x="65" y="266"/>
                    <a:pt x="64" y="270"/>
                    <a:pt x="64" y="270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56" y="269"/>
                    <a:pt x="56" y="269"/>
                    <a:pt x="56" y="269"/>
                  </a:cubicBezTo>
                  <a:cubicBezTo>
                    <a:pt x="42" y="267"/>
                    <a:pt x="42" y="267"/>
                    <a:pt x="42" y="267"/>
                  </a:cubicBezTo>
                  <a:cubicBezTo>
                    <a:pt x="41" y="269"/>
                    <a:pt x="41" y="269"/>
                    <a:pt x="41" y="269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33" y="269"/>
                    <a:pt x="33" y="269"/>
                    <a:pt x="33" y="269"/>
                  </a:cubicBezTo>
                  <a:cubicBezTo>
                    <a:pt x="31" y="272"/>
                    <a:pt x="31" y="272"/>
                    <a:pt x="31" y="272"/>
                  </a:cubicBezTo>
                  <a:cubicBezTo>
                    <a:pt x="24" y="271"/>
                    <a:pt x="24" y="271"/>
                    <a:pt x="24" y="271"/>
                  </a:cubicBezTo>
                  <a:cubicBezTo>
                    <a:pt x="24" y="271"/>
                    <a:pt x="23" y="269"/>
                    <a:pt x="19" y="269"/>
                  </a:cubicBezTo>
                  <a:cubicBezTo>
                    <a:pt x="16" y="269"/>
                    <a:pt x="15" y="273"/>
                    <a:pt x="15" y="273"/>
                  </a:cubicBezTo>
                  <a:cubicBezTo>
                    <a:pt x="18" y="277"/>
                    <a:pt x="18" y="277"/>
                    <a:pt x="18" y="277"/>
                  </a:cubicBezTo>
                  <a:cubicBezTo>
                    <a:pt x="14" y="278"/>
                    <a:pt x="14" y="278"/>
                    <a:pt x="14" y="278"/>
                  </a:cubicBezTo>
                  <a:cubicBezTo>
                    <a:pt x="14" y="278"/>
                    <a:pt x="14" y="283"/>
                    <a:pt x="18" y="284"/>
                  </a:cubicBezTo>
                  <a:cubicBezTo>
                    <a:pt x="22" y="286"/>
                    <a:pt x="24" y="282"/>
                    <a:pt x="24" y="282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7" y="283"/>
                    <a:pt x="27" y="283"/>
                    <a:pt x="27" y="283"/>
                  </a:cubicBezTo>
                  <a:cubicBezTo>
                    <a:pt x="27" y="283"/>
                    <a:pt x="23" y="283"/>
                    <a:pt x="22" y="288"/>
                  </a:cubicBezTo>
                  <a:cubicBezTo>
                    <a:pt x="20" y="294"/>
                    <a:pt x="27" y="295"/>
                    <a:pt x="27" y="295"/>
                  </a:cubicBezTo>
                  <a:cubicBezTo>
                    <a:pt x="25" y="296"/>
                    <a:pt x="25" y="296"/>
                    <a:pt x="25" y="296"/>
                  </a:cubicBezTo>
                  <a:cubicBezTo>
                    <a:pt x="27" y="298"/>
                    <a:pt x="27" y="298"/>
                    <a:pt x="27" y="298"/>
                  </a:cubicBezTo>
                  <a:cubicBezTo>
                    <a:pt x="30" y="298"/>
                    <a:pt x="30" y="298"/>
                    <a:pt x="30" y="298"/>
                  </a:cubicBezTo>
                  <a:cubicBezTo>
                    <a:pt x="30" y="298"/>
                    <a:pt x="29" y="296"/>
                    <a:pt x="29" y="294"/>
                  </a:cubicBezTo>
                  <a:cubicBezTo>
                    <a:pt x="29" y="293"/>
                    <a:pt x="32" y="292"/>
                    <a:pt x="32" y="292"/>
                  </a:cubicBezTo>
                  <a:cubicBezTo>
                    <a:pt x="38" y="295"/>
                    <a:pt x="38" y="295"/>
                    <a:pt x="38" y="295"/>
                  </a:cubicBezTo>
                  <a:cubicBezTo>
                    <a:pt x="38" y="295"/>
                    <a:pt x="36" y="299"/>
                    <a:pt x="35" y="302"/>
                  </a:cubicBezTo>
                  <a:cubicBezTo>
                    <a:pt x="34" y="305"/>
                    <a:pt x="34" y="310"/>
                    <a:pt x="34" y="310"/>
                  </a:cubicBezTo>
                  <a:cubicBezTo>
                    <a:pt x="25" y="311"/>
                    <a:pt x="25" y="311"/>
                    <a:pt x="25" y="311"/>
                  </a:cubicBezTo>
                  <a:cubicBezTo>
                    <a:pt x="25" y="311"/>
                    <a:pt x="24" y="304"/>
                    <a:pt x="19" y="305"/>
                  </a:cubicBezTo>
                  <a:cubicBezTo>
                    <a:pt x="15" y="306"/>
                    <a:pt x="19" y="314"/>
                    <a:pt x="19" y="314"/>
                  </a:cubicBezTo>
                  <a:cubicBezTo>
                    <a:pt x="19" y="314"/>
                    <a:pt x="15" y="314"/>
                    <a:pt x="15" y="318"/>
                  </a:cubicBezTo>
                  <a:cubicBezTo>
                    <a:pt x="15" y="322"/>
                    <a:pt x="18" y="321"/>
                    <a:pt x="18" y="321"/>
                  </a:cubicBezTo>
                  <a:cubicBezTo>
                    <a:pt x="17" y="324"/>
                    <a:pt x="17" y="324"/>
                    <a:pt x="17" y="324"/>
                  </a:cubicBezTo>
                  <a:cubicBezTo>
                    <a:pt x="22" y="329"/>
                    <a:pt x="22" y="329"/>
                    <a:pt x="22" y="329"/>
                  </a:cubicBezTo>
                  <a:cubicBezTo>
                    <a:pt x="26" y="326"/>
                    <a:pt x="26" y="326"/>
                    <a:pt x="26" y="32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27" y="325"/>
                    <a:pt x="27" y="325"/>
                    <a:pt x="27" y="325"/>
                  </a:cubicBezTo>
                  <a:cubicBezTo>
                    <a:pt x="27" y="329"/>
                    <a:pt x="27" y="329"/>
                    <a:pt x="27" y="329"/>
                  </a:cubicBezTo>
                  <a:cubicBezTo>
                    <a:pt x="32" y="329"/>
                    <a:pt x="32" y="329"/>
                    <a:pt x="32" y="329"/>
                  </a:cubicBezTo>
                  <a:cubicBezTo>
                    <a:pt x="33" y="330"/>
                    <a:pt x="31" y="334"/>
                    <a:pt x="31" y="334"/>
                  </a:cubicBezTo>
                  <a:cubicBezTo>
                    <a:pt x="32" y="335"/>
                    <a:pt x="32" y="335"/>
                    <a:pt x="32" y="335"/>
                  </a:cubicBezTo>
                  <a:cubicBezTo>
                    <a:pt x="30" y="335"/>
                    <a:pt x="30" y="335"/>
                    <a:pt x="30" y="335"/>
                  </a:cubicBezTo>
                  <a:cubicBezTo>
                    <a:pt x="30" y="337"/>
                    <a:pt x="30" y="337"/>
                    <a:pt x="30" y="337"/>
                  </a:cubicBezTo>
                  <a:cubicBezTo>
                    <a:pt x="34" y="341"/>
                    <a:pt x="34" y="341"/>
                    <a:pt x="34" y="341"/>
                  </a:cubicBezTo>
                  <a:cubicBezTo>
                    <a:pt x="38" y="336"/>
                    <a:pt x="38" y="336"/>
                    <a:pt x="38" y="336"/>
                  </a:cubicBezTo>
                  <a:cubicBezTo>
                    <a:pt x="38" y="329"/>
                    <a:pt x="38" y="329"/>
                    <a:pt x="38" y="329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42" y="322"/>
                    <a:pt x="42" y="322"/>
                    <a:pt x="42" y="322"/>
                  </a:cubicBezTo>
                  <a:cubicBezTo>
                    <a:pt x="42" y="322"/>
                    <a:pt x="45" y="325"/>
                    <a:pt x="47" y="322"/>
                  </a:cubicBezTo>
                  <a:cubicBezTo>
                    <a:pt x="48" y="321"/>
                    <a:pt x="47" y="317"/>
                    <a:pt x="47" y="317"/>
                  </a:cubicBezTo>
                  <a:cubicBezTo>
                    <a:pt x="47" y="317"/>
                    <a:pt x="49" y="316"/>
                    <a:pt x="55" y="314"/>
                  </a:cubicBezTo>
                  <a:cubicBezTo>
                    <a:pt x="59" y="311"/>
                    <a:pt x="64" y="311"/>
                    <a:pt x="64" y="311"/>
                  </a:cubicBezTo>
                  <a:cubicBezTo>
                    <a:pt x="64" y="313"/>
                    <a:pt x="64" y="313"/>
                    <a:pt x="64" y="313"/>
                  </a:cubicBezTo>
                  <a:cubicBezTo>
                    <a:pt x="71" y="310"/>
                    <a:pt x="71" y="310"/>
                    <a:pt x="71" y="310"/>
                  </a:cubicBezTo>
                  <a:cubicBezTo>
                    <a:pt x="72" y="306"/>
                    <a:pt x="72" y="306"/>
                    <a:pt x="72" y="306"/>
                  </a:cubicBezTo>
                  <a:cubicBezTo>
                    <a:pt x="74" y="306"/>
                    <a:pt x="74" y="306"/>
                    <a:pt x="74" y="306"/>
                  </a:cubicBezTo>
                  <a:cubicBezTo>
                    <a:pt x="73" y="310"/>
                    <a:pt x="73" y="310"/>
                    <a:pt x="73" y="310"/>
                  </a:cubicBezTo>
                  <a:cubicBezTo>
                    <a:pt x="77" y="311"/>
                    <a:pt x="77" y="311"/>
                    <a:pt x="77" y="311"/>
                  </a:cubicBezTo>
                  <a:cubicBezTo>
                    <a:pt x="77" y="311"/>
                    <a:pt x="68" y="312"/>
                    <a:pt x="65" y="317"/>
                  </a:cubicBezTo>
                  <a:cubicBezTo>
                    <a:pt x="62" y="322"/>
                    <a:pt x="63" y="326"/>
                    <a:pt x="62" y="329"/>
                  </a:cubicBezTo>
                  <a:cubicBezTo>
                    <a:pt x="62" y="331"/>
                    <a:pt x="58" y="334"/>
                    <a:pt x="58" y="334"/>
                  </a:cubicBezTo>
                  <a:cubicBezTo>
                    <a:pt x="62" y="317"/>
                    <a:pt x="62" y="317"/>
                    <a:pt x="62" y="317"/>
                  </a:cubicBezTo>
                  <a:cubicBezTo>
                    <a:pt x="62" y="314"/>
                    <a:pt x="62" y="314"/>
                    <a:pt x="62" y="314"/>
                  </a:cubicBezTo>
                  <a:cubicBezTo>
                    <a:pt x="62" y="314"/>
                    <a:pt x="58" y="315"/>
                    <a:pt x="56" y="317"/>
                  </a:cubicBezTo>
                  <a:cubicBezTo>
                    <a:pt x="52" y="318"/>
                    <a:pt x="47" y="326"/>
                    <a:pt x="47" y="326"/>
                  </a:cubicBezTo>
                  <a:cubicBezTo>
                    <a:pt x="47" y="326"/>
                    <a:pt x="44" y="327"/>
                    <a:pt x="44" y="330"/>
                  </a:cubicBezTo>
                  <a:cubicBezTo>
                    <a:pt x="45" y="333"/>
                    <a:pt x="50" y="331"/>
                    <a:pt x="48" y="333"/>
                  </a:cubicBezTo>
                  <a:cubicBezTo>
                    <a:pt x="47" y="334"/>
                    <a:pt x="43" y="334"/>
                    <a:pt x="41" y="336"/>
                  </a:cubicBezTo>
                  <a:cubicBezTo>
                    <a:pt x="39" y="338"/>
                    <a:pt x="39" y="343"/>
                    <a:pt x="39" y="343"/>
                  </a:cubicBezTo>
                  <a:cubicBezTo>
                    <a:pt x="32" y="343"/>
                    <a:pt x="32" y="343"/>
                    <a:pt x="32" y="343"/>
                  </a:cubicBezTo>
                  <a:cubicBezTo>
                    <a:pt x="28" y="348"/>
                    <a:pt x="28" y="348"/>
                    <a:pt x="28" y="348"/>
                  </a:cubicBezTo>
                  <a:cubicBezTo>
                    <a:pt x="33" y="353"/>
                    <a:pt x="33" y="353"/>
                    <a:pt x="33" y="353"/>
                  </a:cubicBezTo>
                  <a:cubicBezTo>
                    <a:pt x="39" y="350"/>
                    <a:pt x="39" y="350"/>
                    <a:pt x="39" y="350"/>
                  </a:cubicBezTo>
                  <a:cubicBezTo>
                    <a:pt x="38" y="355"/>
                    <a:pt x="38" y="355"/>
                    <a:pt x="38" y="355"/>
                  </a:cubicBezTo>
                  <a:cubicBezTo>
                    <a:pt x="40" y="356"/>
                    <a:pt x="40" y="356"/>
                    <a:pt x="40" y="356"/>
                  </a:cubicBezTo>
                  <a:cubicBezTo>
                    <a:pt x="46" y="351"/>
                    <a:pt x="46" y="351"/>
                    <a:pt x="46" y="351"/>
                  </a:cubicBezTo>
                  <a:cubicBezTo>
                    <a:pt x="42" y="357"/>
                    <a:pt x="42" y="357"/>
                    <a:pt x="42" y="357"/>
                  </a:cubicBezTo>
                  <a:cubicBezTo>
                    <a:pt x="44" y="359"/>
                    <a:pt x="44" y="359"/>
                    <a:pt x="44" y="359"/>
                  </a:cubicBezTo>
                  <a:cubicBezTo>
                    <a:pt x="34" y="356"/>
                    <a:pt x="34" y="356"/>
                    <a:pt x="34" y="356"/>
                  </a:cubicBezTo>
                  <a:cubicBezTo>
                    <a:pt x="31" y="360"/>
                    <a:pt x="31" y="360"/>
                    <a:pt x="31" y="360"/>
                  </a:cubicBezTo>
                  <a:cubicBezTo>
                    <a:pt x="34" y="363"/>
                    <a:pt x="34" y="363"/>
                    <a:pt x="34" y="363"/>
                  </a:cubicBezTo>
                  <a:cubicBezTo>
                    <a:pt x="26" y="359"/>
                    <a:pt x="26" y="359"/>
                    <a:pt x="26" y="359"/>
                  </a:cubicBezTo>
                  <a:cubicBezTo>
                    <a:pt x="23" y="361"/>
                    <a:pt x="23" y="361"/>
                    <a:pt x="23" y="361"/>
                  </a:cubicBezTo>
                  <a:cubicBezTo>
                    <a:pt x="20" y="369"/>
                    <a:pt x="20" y="369"/>
                    <a:pt x="20" y="369"/>
                  </a:cubicBezTo>
                  <a:cubicBezTo>
                    <a:pt x="18" y="371"/>
                    <a:pt x="18" y="371"/>
                    <a:pt x="18" y="371"/>
                  </a:cubicBezTo>
                  <a:cubicBezTo>
                    <a:pt x="22" y="357"/>
                    <a:pt x="22" y="357"/>
                    <a:pt x="22" y="357"/>
                  </a:cubicBezTo>
                  <a:cubicBezTo>
                    <a:pt x="19" y="358"/>
                    <a:pt x="19" y="358"/>
                    <a:pt x="19" y="358"/>
                  </a:cubicBezTo>
                  <a:cubicBezTo>
                    <a:pt x="18" y="362"/>
                    <a:pt x="18" y="362"/>
                    <a:pt x="18" y="362"/>
                  </a:cubicBezTo>
                  <a:cubicBezTo>
                    <a:pt x="15" y="362"/>
                    <a:pt x="15" y="362"/>
                    <a:pt x="15" y="362"/>
                  </a:cubicBezTo>
                  <a:cubicBezTo>
                    <a:pt x="10" y="371"/>
                    <a:pt x="10" y="371"/>
                    <a:pt x="10" y="371"/>
                  </a:cubicBezTo>
                  <a:cubicBezTo>
                    <a:pt x="13" y="384"/>
                    <a:pt x="13" y="384"/>
                    <a:pt x="13" y="384"/>
                  </a:cubicBezTo>
                  <a:cubicBezTo>
                    <a:pt x="14" y="383"/>
                    <a:pt x="14" y="383"/>
                    <a:pt x="14" y="383"/>
                  </a:cubicBezTo>
                  <a:cubicBezTo>
                    <a:pt x="14" y="391"/>
                    <a:pt x="14" y="391"/>
                    <a:pt x="14" y="391"/>
                  </a:cubicBezTo>
                  <a:cubicBezTo>
                    <a:pt x="17" y="391"/>
                    <a:pt x="17" y="391"/>
                    <a:pt x="17" y="391"/>
                  </a:cubicBezTo>
                  <a:cubicBezTo>
                    <a:pt x="17" y="384"/>
                    <a:pt x="17" y="384"/>
                    <a:pt x="17" y="384"/>
                  </a:cubicBezTo>
                  <a:cubicBezTo>
                    <a:pt x="22" y="383"/>
                    <a:pt x="22" y="383"/>
                    <a:pt x="22" y="383"/>
                  </a:cubicBezTo>
                  <a:cubicBezTo>
                    <a:pt x="22" y="380"/>
                    <a:pt x="22" y="380"/>
                    <a:pt x="22" y="380"/>
                  </a:cubicBezTo>
                  <a:cubicBezTo>
                    <a:pt x="25" y="382"/>
                    <a:pt x="25" y="382"/>
                    <a:pt x="25" y="382"/>
                  </a:cubicBezTo>
                  <a:cubicBezTo>
                    <a:pt x="23" y="385"/>
                    <a:pt x="23" y="385"/>
                    <a:pt x="23" y="385"/>
                  </a:cubicBezTo>
                  <a:cubicBezTo>
                    <a:pt x="24" y="387"/>
                    <a:pt x="24" y="387"/>
                    <a:pt x="24" y="387"/>
                  </a:cubicBezTo>
                  <a:cubicBezTo>
                    <a:pt x="32" y="379"/>
                    <a:pt x="32" y="379"/>
                    <a:pt x="32" y="379"/>
                  </a:cubicBezTo>
                  <a:cubicBezTo>
                    <a:pt x="30" y="375"/>
                    <a:pt x="30" y="375"/>
                    <a:pt x="30" y="375"/>
                  </a:cubicBezTo>
                  <a:cubicBezTo>
                    <a:pt x="26" y="376"/>
                    <a:pt x="26" y="376"/>
                    <a:pt x="26" y="376"/>
                  </a:cubicBezTo>
                  <a:cubicBezTo>
                    <a:pt x="31" y="373"/>
                    <a:pt x="31" y="373"/>
                    <a:pt x="31" y="373"/>
                  </a:cubicBezTo>
                  <a:cubicBezTo>
                    <a:pt x="32" y="369"/>
                    <a:pt x="32" y="369"/>
                    <a:pt x="32" y="369"/>
                  </a:cubicBezTo>
                  <a:cubicBezTo>
                    <a:pt x="34" y="374"/>
                    <a:pt x="34" y="374"/>
                    <a:pt x="34" y="374"/>
                  </a:cubicBezTo>
                  <a:cubicBezTo>
                    <a:pt x="39" y="375"/>
                    <a:pt x="39" y="375"/>
                    <a:pt x="39" y="375"/>
                  </a:cubicBezTo>
                  <a:cubicBezTo>
                    <a:pt x="35" y="376"/>
                    <a:pt x="35" y="376"/>
                    <a:pt x="35" y="376"/>
                  </a:cubicBezTo>
                  <a:cubicBezTo>
                    <a:pt x="36" y="379"/>
                    <a:pt x="36" y="379"/>
                    <a:pt x="36" y="379"/>
                  </a:cubicBezTo>
                  <a:cubicBezTo>
                    <a:pt x="41" y="377"/>
                    <a:pt x="41" y="377"/>
                    <a:pt x="41" y="377"/>
                  </a:cubicBezTo>
                  <a:cubicBezTo>
                    <a:pt x="43" y="371"/>
                    <a:pt x="43" y="371"/>
                    <a:pt x="43" y="371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7" y="364"/>
                    <a:pt x="47" y="364"/>
                    <a:pt x="47" y="364"/>
                  </a:cubicBezTo>
                  <a:cubicBezTo>
                    <a:pt x="48" y="365"/>
                    <a:pt x="48" y="365"/>
                    <a:pt x="48" y="365"/>
                  </a:cubicBezTo>
                  <a:cubicBezTo>
                    <a:pt x="47" y="371"/>
                    <a:pt x="47" y="371"/>
                    <a:pt x="47" y="371"/>
                  </a:cubicBezTo>
                  <a:cubicBezTo>
                    <a:pt x="52" y="368"/>
                    <a:pt x="52" y="368"/>
                    <a:pt x="52" y="368"/>
                  </a:cubicBezTo>
                  <a:cubicBezTo>
                    <a:pt x="52" y="369"/>
                    <a:pt x="52" y="369"/>
                    <a:pt x="52" y="369"/>
                  </a:cubicBezTo>
                  <a:cubicBezTo>
                    <a:pt x="45" y="373"/>
                    <a:pt x="45" y="373"/>
                    <a:pt x="45" y="373"/>
                  </a:cubicBezTo>
                  <a:cubicBezTo>
                    <a:pt x="44" y="379"/>
                    <a:pt x="44" y="379"/>
                    <a:pt x="44" y="379"/>
                  </a:cubicBezTo>
                  <a:cubicBezTo>
                    <a:pt x="38" y="381"/>
                    <a:pt x="38" y="381"/>
                    <a:pt x="38" y="381"/>
                  </a:cubicBezTo>
                  <a:cubicBezTo>
                    <a:pt x="40" y="383"/>
                    <a:pt x="40" y="383"/>
                    <a:pt x="40" y="383"/>
                  </a:cubicBezTo>
                  <a:cubicBezTo>
                    <a:pt x="40" y="383"/>
                    <a:pt x="41" y="381"/>
                    <a:pt x="44" y="382"/>
                  </a:cubicBezTo>
                  <a:cubicBezTo>
                    <a:pt x="46" y="383"/>
                    <a:pt x="41" y="387"/>
                    <a:pt x="41" y="387"/>
                  </a:cubicBezTo>
                  <a:cubicBezTo>
                    <a:pt x="49" y="384"/>
                    <a:pt x="49" y="384"/>
                    <a:pt x="49" y="384"/>
                  </a:cubicBezTo>
                  <a:cubicBezTo>
                    <a:pt x="49" y="384"/>
                    <a:pt x="42" y="388"/>
                    <a:pt x="41" y="389"/>
                  </a:cubicBezTo>
                  <a:cubicBezTo>
                    <a:pt x="39" y="390"/>
                    <a:pt x="36" y="394"/>
                    <a:pt x="36" y="394"/>
                  </a:cubicBezTo>
                  <a:cubicBezTo>
                    <a:pt x="38" y="396"/>
                    <a:pt x="38" y="396"/>
                    <a:pt x="38" y="396"/>
                  </a:cubicBezTo>
                  <a:cubicBezTo>
                    <a:pt x="31" y="398"/>
                    <a:pt x="31" y="398"/>
                    <a:pt x="31" y="398"/>
                  </a:cubicBezTo>
                  <a:cubicBezTo>
                    <a:pt x="34" y="404"/>
                    <a:pt x="34" y="404"/>
                    <a:pt x="34" y="404"/>
                  </a:cubicBezTo>
                  <a:cubicBezTo>
                    <a:pt x="35" y="408"/>
                    <a:pt x="35" y="408"/>
                    <a:pt x="35" y="408"/>
                  </a:cubicBezTo>
                  <a:cubicBezTo>
                    <a:pt x="43" y="404"/>
                    <a:pt x="43" y="404"/>
                    <a:pt x="43" y="404"/>
                  </a:cubicBezTo>
                  <a:cubicBezTo>
                    <a:pt x="50" y="405"/>
                    <a:pt x="50" y="405"/>
                    <a:pt x="50" y="405"/>
                  </a:cubicBezTo>
                  <a:cubicBezTo>
                    <a:pt x="44" y="406"/>
                    <a:pt x="44" y="406"/>
                    <a:pt x="44" y="406"/>
                  </a:cubicBezTo>
                  <a:cubicBezTo>
                    <a:pt x="38" y="410"/>
                    <a:pt x="38" y="410"/>
                    <a:pt x="38" y="410"/>
                  </a:cubicBezTo>
                  <a:cubicBezTo>
                    <a:pt x="38" y="413"/>
                    <a:pt x="38" y="413"/>
                    <a:pt x="38" y="413"/>
                  </a:cubicBezTo>
                  <a:cubicBezTo>
                    <a:pt x="30" y="407"/>
                    <a:pt x="30" y="407"/>
                    <a:pt x="30" y="407"/>
                  </a:cubicBezTo>
                  <a:cubicBezTo>
                    <a:pt x="25" y="411"/>
                    <a:pt x="25" y="411"/>
                    <a:pt x="25" y="411"/>
                  </a:cubicBezTo>
                  <a:cubicBezTo>
                    <a:pt x="25" y="405"/>
                    <a:pt x="25" y="405"/>
                    <a:pt x="25" y="405"/>
                  </a:cubicBezTo>
                  <a:cubicBezTo>
                    <a:pt x="19" y="403"/>
                    <a:pt x="19" y="403"/>
                    <a:pt x="19" y="403"/>
                  </a:cubicBezTo>
                  <a:cubicBezTo>
                    <a:pt x="20" y="411"/>
                    <a:pt x="20" y="411"/>
                    <a:pt x="20" y="411"/>
                  </a:cubicBezTo>
                  <a:cubicBezTo>
                    <a:pt x="18" y="412"/>
                    <a:pt x="18" y="412"/>
                    <a:pt x="18" y="412"/>
                  </a:cubicBezTo>
                  <a:cubicBezTo>
                    <a:pt x="17" y="415"/>
                    <a:pt x="17" y="415"/>
                    <a:pt x="17" y="415"/>
                  </a:cubicBezTo>
                  <a:cubicBezTo>
                    <a:pt x="14" y="420"/>
                    <a:pt x="14" y="420"/>
                    <a:pt x="14" y="420"/>
                  </a:cubicBezTo>
                  <a:cubicBezTo>
                    <a:pt x="14" y="420"/>
                    <a:pt x="18" y="432"/>
                    <a:pt x="23" y="435"/>
                  </a:cubicBezTo>
                  <a:cubicBezTo>
                    <a:pt x="26" y="438"/>
                    <a:pt x="29" y="440"/>
                    <a:pt x="31" y="444"/>
                  </a:cubicBezTo>
                  <a:cubicBezTo>
                    <a:pt x="33" y="448"/>
                    <a:pt x="49" y="454"/>
                    <a:pt x="49" y="454"/>
                  </a:cubicBezTo>
                  <a:cubicBezTo>
                    <a:pt x="50" y="457"/>
                    <a:pt x="50" y="457"/>
                    <a:pt x="50" y="457"/>
                  </a:cubicBezTo>
                  <a:cubicBezTo>
                    <a:pt x="53" y="453"/>
                    <a:pt x="53" y="453"/>
                    <a:pt x="53" y="453"/>
                  </a:cubicBezTo>
                  <a:cubicBezTo>
                    <a:pt x="58" y="456"/>
                    <a:pt x="58" y="456"/>
                    <a:pt x="58" y="456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50" y="467"/>
                    <a:pt x="50" y="467"/>
                    <a:pt x="50" y="467"/>
                  </a:cubicBezTo>
                  <a:cubicBezTo>
                    <a:pt x="58" y="467"/>
                    <a:pt x="58" y="467"/>
                    <a:pt x="58" y="467"/>
                  </a:cubicBezTo>
                  <a:cubicBezTo>
                    <a:pt x="56" y="464"/>
                    <a:pt x="56" y="464"/>
                    <a:pt x="56" y="464"/>
                  </a:cubicBezTo>
                  <a:cubicBezTo>
                    <a:pt x="60" y="462"/>
                    <a:pt x="60" y="462"/>
                    <a:pt x="60" y="462"/>
                  </a:cubicBezTo>
                  <a:cubicBezTo>
                    <a:pt x="65" y="464"/>
                    <a:pt x="65" y="464"/>
                    <a:pt x="65" y="464"/>
                  </a:cubicBezTo>
                  <a:cubicBezTo>
                    <a:pt x="60" y="466"/>
                    <a:pt x="60" y="466"/>
                    <a:pt x="60" y="466"/>
                  </a:cubicBezTo>
                  <a:cubicBezTo>
                    <a:pt x="64" y="470"/>
                    <a:pt x="64" y="470"/>
                    <a:pt x="64" y="470"/>
                  </a:cubicBezTo>
                  <a:cubicBezTo>
                    <a:pt x="68" y="468"/>
                    <a:pt x="68" y="468"/>
                    <a:pt x="68" y="468"/>
                  </a:cubicBezTo>
                  <a:cubicBezTo>
                    <a:pt x="68" y="468"/>
                    <a:pt x="74" y="471"/>
                    <a:pt x="80" y="471"/>
                  </a:cubicBezTo>
                  <a:cubicBezTo>
                    <a:pt x="85" y="471"/>
                    <a:pt x="88" y="469"/>
                    <a:pt x="92" y="468"/>
                  </a:cubicBezTo>
                  <a:cubicBezTo>
                    <a:pt x="96" y="467"/>
                    <a:pt x="101" y="461"/>
                    <a:pt x="101" y="461"/>
                  </a:cubicBezTo>
                  <a:cubicBezTo>
                    <a:pt x="101" y="468"/>
                    <a:pt x="101" y="468"/>
                    <a:pt x="101" y="468"/>
                  </a:cubicBezTo>
                  <a:cubicBezTo>
                    <a:pt x="124" y="448"/>
                    <a:pt x="124" y="448"/>
                    <a:pt x="124" y="448"/>
                  </a:cubicBezTo>
                  <a:cubicBezTo>
                    <a:pt x="124" y="444"/>
                    <a:pt x="124" y="444"/>
                    <a:pt x="124" y="444"/>
                  </a:cubicBezTo>
                  <a:cubicBezTo>
                    <a:pt x="142" y="430"/>
                    <a:pt x="142" y="430"/>
                    <a:pt x="142" y="430"/>
                  </a:cubicBezTo>
                  <a:cubicBezTo>
                    <a:pt x="141" y="426"/>
                    <a:pt x="141" y="426"/>
                    <a:pt x="141" y="426"/>
                  </a:cubicBezTo>
                  <a:cubicBezTo>
                    <a:pt x="145" y="427"/>
                    <a:pt x="145" y="427"/>
                    <a:pt x="145" y="427"/>
                  </a:cubicBezTo>
                  <a:cubicBezTo>
                    <a:pt x="150" y="421"/>
                    <a:pt x="150" y="421"/>
                    <a:pt x="150" y="421"/>
                  </a:cubicBezTo>
                  <a:cubicBezTo>
                    <a:pt x="146" y="419"/>
                    <a:pt x="146" y="419"/>
                    <a:pt x="146" y="419"/>
                  </a:cubicBezTo>
                  <a:cubicBezTo>
                    <a:pt x="161" y="408"/>
                    <a:pt x="161" y="408"/>
                    <a:pt x="161" y="408"/>
                  </a:cubicBezTo>
                  <a:cubicBezTo>
                    <a:pt x="156" y="401"/>
                    <a:pt x="156" y="401"/>
                    <a:pt x="156" y="401"/>
                  </a:cubicBezTo>
                  <a:cubicBezTo>
                    <a:pt x="159" y="403"/>
                    <a:pt x="159" y="403"/>
                    <a:pt x="159" y="403"/>
                  </a:cubicBezTo>
                  <a:cubicBezTo>
                    <a:pt x="167" y="412"/>
                    <a:pt x="167" y="412"/>
                    <a:pt x="167" y="412"/>
                  </a:cubicBezTo>
                  <a:cubicBezTo>
                    <a:pt x="180" y="408"/>
                    <a:pt x="180" y="408"/>
                    <a:pt x="180" y="408"/>
                  </a:cubicBezTo>
                  <a:cubicBezTo>
                    <a:pt x="181" y="396"/>
                    <a:pt x="181" y="396"/>
                    <a:pt x="181" y="396"/>
                  </a:cubicBezTo>
                  <a:cubicBezTo>
                    <a:pt x="184" y="399"/>
                    <a:pt x="184" y="399"/>
                    <a:pt x="184" y="399"/>
                  </a:cubicBezTo>
                  <a:cubicBezTo>
                    <a:pt x="188" y="397"/>
                    <a:pt x="188" y="397"/>
                    <a:pt x="188" y="397"/>
                  </a:cubicBezTo>
                  <a:cubicBezTo>
                    <a:pt x="186" y="394"/>
                    <a:pt x="186" y="394"/>
                    <a:pt x="186" y="394"/>
                  </a:cubicBezTo>
                  <a:cubicBezTo>
                    <a:pt x="189" y="394"/>
                    <a:pt x="189" y="394"/>
                    <a:pt x="189" y="394"/>
                  </a:cubicBezTo>
                  <a:cubicBezTo>
                    <a:pt x="188" y="382"/>
                    <a:pt x="188" y="382"/>
                    <a:pt x="188" y="382"/>
                  </a:cubicBezTo>
                  <a:cubicBezTo>
                    <a:pt x="182" y="380"/>
                    <a:pt x="182" y="380"/>
                    <a:pt x="182" y="380"/>
                  </a:cubicBezTo>
                  <a:cubicBezTo>
                    <a:pt x="179" y="373"/>
                    <a:pt x="179" y="373"/>
                    <a:pt x="179" y="373"/>
                  </a:cubicBezTo>
                  <a:cubicBezTo>
                    <a:pt x="183" y="376"/>
                    <a:pt x="183" y="376"/>
                    <a:pt x="183" y="376"/>
                  </a:cubicBezTo>
                  <a:cubicBezTo>
                    <a:pt x="183" y="367"/>
                    <a:pt x="183" y="367"/>
                    <a:pt x="183" y="367"/>
                  </a:cubicBezTo>
                  <a:cubicBezTo>
                    <a:pt x="178" y="362"/>
                    <a:pt x="178" y="362"/>
                    <a:pt x="178" y="362"/>
                  </a:cubicBezTo>
                  <a:cubicBezTo>
                    <a:pt x="181" y="361"/>
                    <a:pt x="181" y="361"/>
                    <a:pt x="181" y="361"/>
                  </a:cubicBezTo>
                  <a:cubicBezTo>
                    <a:pt x="186" y="364"/>
                    <a:pt x="186" y="364"/>
                    <a:pt x="186" y="364"/>
                  </a:cubicBezTo>
                  <a:cubicBezTo>
                    <a:pt x="186" y="376"/>
                    <a:pt x="186" y="376"/>
                    <a:pt x="186" y="376"/>
                  </a:cubicBezTo>
                  <a:cubicBezTo>
                    <a:pt x="186" y="376"/>
                    <a:pt x="191" y="375"/>
                    <a:pt x="192" y="372"/>
                  </a:cubicBezTo>
                  <a:cubicBezTo>
                    <a:pt x="192" y="367"/>
                    <a:pt x="189" y="364"/>
                    <a:pt x="189" y="364"/>
                  </a:cubicBezTo>
                  <a:cubicBezTo>
                    <a:pt x="189" y="364"/>
                    <a:pt x="189" y="358"/>
                    <a:pt x="190" y="353"/>
                  </a:cubicBezTo>
                  <a:cubicBezTo>
                    <a:pt x="190" y="349"/>
                    <a:pt x="197" y="350"/>
                    <a:pt x="199" y="353"/>
                  </a:cubicBezTo>
                  <a:cubicBezTo>
                    <a:pt x="200" y="356"/>
                    <a:pt x="197" y="360"/>
                    <a:pt x="197" y="360"/>
                  </a:cubicBezTo>
                  <a:cubicBezTo>
                    <a:pt x="195" y="355"/>
                    <a:pt x="195" y="355"/>
                    <a:pt x="195" y="355"/>
                  </a:cubicBezTo>
                  <a:cubicBezTo>
                    <a:pt x="193" y="360"/>
                    <a:pt x="193" y="360"/>
                    <a:pt x="193" y="360"/>
                  </a:cubicBezTo>
                  <a:cubicBezTo>
                    <a:pt x="194" y="367"/>
                    <a:pt x="194" y="367"/>
                    <a:pt x="194" y="367"/>
                  </a:cubicBezTo>
                  <a:cubicBezTo>
                    <a:pt x="194" y="379"/>
                    <a:pt x="194" y="379"/>
                    <a:pt x="194" y="379"/>
                  </a:cubicBezTo>
                  <a:cubicBezTo>
                    <a:pt x="192" y="380"/>
                    <a:pt x="192" y="380"/>
                    <a:pt x="192" y="380"/>
                  </a:cubicBezTo>
                  <a:cubicBezTo>
                    <a:pt x="195" y="391"/>
                    <a:pt x="195" y="391"/>
                    <a:pt x="195" y="391"/>
                  </a:cubicBezTo>
                  <a:cubicBezTo>
                    <a:pt x="198" y="389"/>
                    <a:pt x="198" y="389"/>
                    <a:pt x="198" y="389"/>
                  </a:cubicBezTo>
                  <a:cubicBezTo>
                    <a:pt x="199" y="400"/>
                    <a:pt x="199" y="400"/>
                    <a:pt x="199" y="400"/>
                  </a:cubicBezTo>
                  <a:cubicBezTo>
                    <a:pt x="208" y="401"/>
                    <a:pt x="208" y="401"/>
                    <a:pt x="208" y="401"/>
                  </a:cubicBezTo>
                  <a:cubicBezTo>
                    <a:pt x="211" y="399"/>
                    <a:pt x="211" y="399"/>
                    <a:pt x="211" y="399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12" y="405"/>
                    <a:pt x="220" y="400"/>
                    <a:pt x="221" y="405"/>
                  </a:cubicBezTo>
                  <a:cubicBezTo>
                    <a:pt x="222" y="410"/>
                    <a:pt x="219" y="419"/>
                    <a:pt x="223" y="419"/>
                  </a:cubicBezTo>
                  <a:cubicBezTo>
                    <a:pt x="227" y="419"/>
                    <a:pt x="228" y="413"/>
                    <a:pt x="230" y="406"/>
                  </a:cubicBezTo>
                  <a:cubicBezTo>
                    <a:pt x="232" y="399"/>
                    <a:pt x="236" y="391"/>
                    <a:pt x="236" y="391"/>
                  </a:cubicBezTo>
                  <a:cubicBezTo>
                    <a:pt x="236" y="391"/>
                    <a:pt x="227" y="373"/>
                    <a:pt x="230" y="371"/>
                  </a:cubicBezTo>
                  <a:cubicBezTo>
                    <a:pt x="232" y="367"/>
                    <a:pt x="238" y="368"/>
                    <a:pt x="238" y="364"/>
                  </a:cubicBezTo>
                  <a:cubicBezTo>
                    <a:pt x="239" y="359"/>
                    <a:pt x="232" y="358"/>
                    <a:pt x="237" y="355"/>
                  </a:cubicBezTo>
                  <a:cubicBezTo>
                    <a:pt x="241" y="351"/>
                    <a:pt x="252" y="357"/>
                    <a:pt x="256" y="345"/>
                  </a:cubicBezTo>
                  <a:cubicBezTo>
                    <a:pt x="259" y="332"/>
                    <a:pt x="255" y="329"/>
                    <a:pt x="256" y="325"/>
                  </a:cubicBezTo>
                  <a:cubicBezTo>
                    <a:pt x="257" y="320"/>
                    <a:pt x="265" y="324"/>
                    <a:pt x="262" y="316"/>
                  </a:cubicBezTo>
                  <a:cubicBezTo>
                    <a:pt x="260" y="309"/>
                    <a:pt x="254" y="295"/>
                    <a:pt x="254" y="295"/>
                  </a:cubicBezTo>
                  <a:cubicBezTo>
                    <a:pt x="252" y="286"/>
                    <a:pt x="252" y="286"/>
                    <a:pt x="252" y="286"/>
                  </a:cubicBezTo>
                  <a:cubicBezTo>
                    <a:pt x="247" y="280"/>
                    <a:pt x="247" y="280"/>
                    <a:pt x="247" y="280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6" y="277"/>
                    <a:pt x="264" y="283"/>
                    <a:pt x="266" y="271"/>
                  </a:cubicBezTo>
                  <a:cubicBezTo>
                    <a:pt x="270" y="259"/>
                    <a:pt x="269" y="255"/>
                    <a:pt x="265" y="251"/>
                  </a:cubicBezTo>
                  <a:cubicBezTo>
                    <a:pt x="261" y="248"/>
                    <a:pt x="256" y="245"/>
                    <a:pt x="256" y="24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2" y="200"/>
                    <a:pt x="252" y="200"/>
                    <a:pt x="252" y="200"/>
                  </a:cubicBezTo>
                  <a:cubicBezTo>
                    <a:pt x="244" y="177"/>
                    <a:pt x="244" y="177"/>
                    <a:pt x="244" y="177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1" y="133"/>
                    <a:pt x="241" y="133"/>
                    <a:pt x="241" y="133"/>
                  </a:cubicBezTo>
                  <a:cubicBezTo>
                    <a:pt x="249" y="122"/>
                    <a:pt x="249" y="122"/>
                    <a:pt x="249" y="122"/>
                  </a:cubicBezTo>
                  <a:cubicBezTo>
                    <a:pt x="246" y="113"/>
                    <a:pt x="246" y="113"/>
                    <a:pt x="246" y="113"/>
                  </a:cubicBezTo>
                  <a:cubicBezTo>
                    <a:pt x="246" y="113"/>
                    <a:pt x="258" y="85"/>
                    <a:pt x="270" y="82"/>
                  </a:cubicBezTo>
                  <a:cubicBezTo>
                    <a:pt x="280" y="79"/>
                    <a:pt x="300" y="85"/>
                    <a:pt x="300" y="85"/>
                  </a:cubicBezTo>
                  <a:cubicBezTo>
                    <a:pt x="305" y="73"/>
                    <a:pt x="305" y="73"/>
                    <a:pt x="305" y="73"/>
                  </a:cubicBezTo>
                  <a:cubicBezTo>
                    <a:pt x="304" y="58"/>
                    <a:pt x="304" y="58"/>
                    <a:pt x="304" y="58"/>
                  </a:cubicBezTo>
                  <a:cubicBezTo>
                    <a:pt x="290" y="48"/>
                    <a:pt x="290" y="48"/>
                    <a:pt x="290" y="48"/>
                  </a:cubicBezTo>
                  <a:cubicBezTo>
                    <a:pt x="309" y="16"/>
                    <a:pt x="309" y="16"/>
                    <a:pt x="309" y="16"/>
                  </a:cubicBezTo>
                  <a:cubicBezTo>
                    <a:pt x="310" y="6"/>
                    <a:pt x="310" y="6"/>
                    <a:pt x="310" y="6"/>
                  </a:cubicBezTo>
                  <a:cubicBezTo>
                    <a:pt x="314" y="1"/>
                    <a:pt x="314" y="1"/>
                    <a:pt x="314" y="1"/>
                  </a:cubicBezTo>
                  <a:lnTo>
                    <a:pt x="314" y="0"/>
                  </a:lnTo>
                  <a:close/>
                  <a:moveTo>
                    <a:pt x="19" y="334"/>
                  </a:moveTo>
                  <a:cubicBezTo>
                    <a:pt x="16" y="337"/>
                    <a:pt x="19" y="338"/>
                    <a:pt x="20" y="337"/>
                  </a:cubicBezTo>
                  <a:cubicBezTo>
                    <a:pt x="23" y="335"/>
                    <a:pt x="22" y="331"/>
                    <a:pt x="19" y="334"/>
                  </a:cubicBezTo>
                  <a:close/>
                  <a:moveTo>
                    <a:pt x="6" y="254"/>
                  </a:moveTo>
                  <a:cubicBezTo>
                    <a:pt x="9" y="254"/>
                    <a:pt x="10" y="253"/>
                    <a:pt x="7" y="252"/>
                  </a:cubicBezTo>
                  <a:cubicBezTo>
                    <a:pt x="3" y="252"/>
                    <a:pt x="4" y="254"/>
                    <a:pt x="6" y="254"/>
                  </a:cubicBezTo>
                  <a:close/>
                  <a:moveTo>
                    <a:pt x="15" y="359"/>
                  </a:moveTo>
                  <a:cubicBezTo>
                    <a:pt x="17" y="357"/>
                    <a:pt x="17" y="357"/>
                    <a:pt x="17" y="357"/>
                  </a:cubicBezTo>
                  <a:cubicBezTo>
                    <a:pt x="15" y="353"/>
                    <a:pt x="15" y="353"/>
                    <a:pt x="15" y="353"/>
                  </a:cubicBezTo>
                  <a:cubicBezTo>
                    <a:pt x="15" y="349"/>
                    <a:pt x="15" y="349"/>
                    <a:pt x="15" y="349"/>
                  </a:cubicBezTo>
                  <a:cubicBezTo>
                    <a:pt x="11" y="347"/>
                    <a:pt x="11" y="347"/>
                    <a:pt x="11" y="347"/>
                  </a:cubicBezTo>
                  <a:cubicBezTo>
                    <a:pt x="11" y="348"/>
                    <a:pt x="11" y="348"/>
                    <a:pt x="11" y="348"/>
                  </a:cubicBezTo>
                  <a:cubicBezTo>
                    <a:pt x="11" y="348"/>
                    <a:pt x="10" y="349"/>
                    <a:pt x="9" y="351"/>
                  </a:cubicBezTo>
                  <a:cubicBezTo>
                    <a:pt x="8" y="353"/>
                    <a:pt x="12" y="355"/>
                    <a:pt x="12" y="355"/>
                  </a:cubicBezTo>
                  <a:cubicBezTo>
                    <a:pt x="9" y="358"/>
                    <a:pt x="9" y="358"/>
                    <a:pt x="9" y="358"/>
                  </a:cubicBezTo>
                  <a:cubicBezTo>
                    <a:pt x="9" y="364"/>
                    <a:pt x="9" y="364"/>
                    <a:pt x="9" y="364"/>
                  </a:cubicBezTo>
                  <a:cubicBezTo>
                    <a:pt x="13" y="363"/>
                    <a:pt x="13" y="363"/>
                    <a:pt x="13" y="363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4" y="355"/>
                    <a:pt x="14" y="355"/>
                    <a:pt x="14" y="355"/>
                  </a:cubicBezTo>
                  <a:cubicBezTo>
                    <a:pt x="15" y="355"/>
                    <a:pt x="15" y="355"/>
                    <a:pt x="15" y="355"/>
                  </a:cubicBezTo>
                  <a:cubicBezTo>
                    <a:pt x="14" y="357"/>
                    <a:pt x="14" y="357"/>
                    <a:pt x="14" y="357"/>
                  </a:cubicBezTo>
                  <a:lnTo>
                    <a:pt x="15" y="359"/>
                  </a:lnTo>
                  <a:close/>
                  <a:moveTo>
                    <a:pt x="6" y="271"/>
                  </a:moveTo>
                  <a:cubicBezTo>
                    <a:pt x="7" y="271"/>
                    <a:pt x="7" y="271"/>
                    <a:pt x="7" y="271"/>
                  </a:cubicBezTo>
                  <a:cubicBezTo>
                    <a:pt x="8" y="267"/>
                    <a:pt x="8" y="267"/>
                    <a:pt x="8" y="267"/>
                  </a:cubicBezTo>
                  <a:cubicBezTo>
                    <a:pt x="7" y="267"/>
                    <a:pt x="7" y="267"/>
                    <a:pt x="7" y="267"/>
                  </a:cubicBezTo>
                  <a:lnTo>
                    <a:pt x="6" y="271"/>
                  </a:lnTo>
                  <a:close/>
                  <a:moveTo>
                    <a:pt x="16" y="341"/>
                  </a:moveTo>
                  <a:cubicBezTo>
                    <a:pt x="16" y="344"/>
                    <a:pt x="16" y="344"/>
                    <a:pt x="16" y="344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6" y="353"/>
                    <a:pt x="20" y="353"/>
                  </a:cubicBezTo>
                  <a:cubicBezTo>
                    <a:pt x="26" y="353"/>
                    <a:pt x="22" y="344"/>
                    <a:pt x="22" y="344"/>
                  </a:cubicBezTo>
                  <a:cubicBezTo>
                    <a:pt x="17" y="341"/>
                    <a:pt x="17" y="341"/>
                    <a:pt x="17" y="341"/>
                  </a:cubicBezTo>
                  <a:lnTo>
                    <a:pt x="16" y="341"/>
                  </a:lnTo>
                  <a:close/>
                  <a:moveTo>
                    <a:pt x="25" y="352"/>
                  </a:moveTo>
                  <a:cubicBezTo>
                    <a:pt x="29" y="357"/>
                    <a:pt x="29" y="357"/>
                    <a:pt x="29" y="357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27" y="350"/>
                    <a:pt x="27" y="350"/>
                    <a:pt x="27" y="350"/>
                  </a:cubicBezTo>
                  <a:lnTo>
                    <a:pt x="25" y="352"/>
                  </a:lnTo>
                  <a:close/>
                  <a:moveTo>
                    <a:pt x="28" y="310"/>
                  </a:moveTo>
                  <a:cubicBezTo>
                    <a:pt x="32" y="308"/>
                    <a:pt x="32" y="308"/>
                    <a:pt x="32" y="308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33" y="296"/>
                    <a:pt x="33" y="296"/>
                    <a:pt x="33" y="296"/>
                  </a:cubicBezTo>
                  <a:cubicBezTo>
                    <a:pt x="29" y="301"/>
                    <a:pt x="29" y="301"/>
                    <a:pt x="29" y="301"/>
                  </a:cubicBezTo>
                  <a:cubicBezTo>
                    <a:pt x="29" y="301"/>
                    <a:pt x="28" y="301"/>
                    <a:pt x="26" y="302"/>
                  </a:cubicBezTo>
                  <a:cubicBezTo>
                    <a:pt x="24" y="302"/>
                    <a:pt x="24" y="304"/>
                    <a:pt x="24" y="304"/>
                  </a:cubicBezTo>
                  <a:lnTo>
                    <a:pt x="28" y="310"/>
                  </a:lnTo>
                  <a:close/>
                  <a:moveTo>
                    <a:pt x="7" y="280"/>
                  </a:moveTo>
                  <a:cubicBezTo>
                    <a:pt x="10" y="283"/>
                    <a:pt x="10" y="283"/>
                    <a:pt x="10" y="283"/>
                  </a:cubicBezTo>
                  <a:cubicBezTo>
                    <a:pt x="9" y="278"/>
                    <a:pt x="9" y="278"/>
                    <a:pt x="9" y="278"/>
                  </a:cubicBezTo>
                  <a:lnTo>
                    <a:pt x="7" y="280"/>
                  </a:lnTo>
                  <a:close/>
                  <a:moveTo>
                    <a:pt x="10" y="329"/>
                  </a:moveTo>
                  <a:cubicBezTo>
                    <a:pt x="11" y="331"/>
                    <a:pt x="11" y="331"/>
                    <a:pt x="11" y="331"/>
                  </a:cubicBezTo>
                  <a:cubicBezTo>
                    <a:pt x="12" y="331"/>
                    <a:pt x="12" y="331"/>
                    <a:pt x="12" y="331"/>
                  </a:cubicBezTo>
                  <a:cubicBezTo>
                    <a:pt x="14" y="334"/>
                    <a:pt x="14" y="334"/>
                    <a:pt x="14" y="334"/>
                  </a:cubicBezTo>
                  <a:cubicBezTo>
                    <a:pt x="12" y="336"/>
                    <a:pt x="12" y="336"/>
                    <a:pt x="12" y="336"/>
                  </a:cubicBezTo>
                  <a:cubicBezTo>
                    <a:pt x="15" y="337"/>
                    <a:pt x="15" y="337"/>
                    <a:pt x="15" y="337"/>
                  </a:cubicBezTo>
                  <a:cubicBezTo>
                    <a:pt x="16" y="333"/>
                    <a:pt x="16" y="333"/>
                    <a:pt x="16" y="333"/>
                  </a:cubicBezTo>
                  <a:cubicBezTo>
                    <a:pt x="12" y="328"/>
                    <a:pt x="12" y="328"/>
                    <a:pt x="12" y="328"/>
                  </a:cubicBezTo>
                  <a:lnTo>
                    <a:pt x="10" y="329"/>
                  </a:lnTo>
                  <a:close/>
                  <a:moveTo>
                    <a:pt x="9" y="290"/>
                  </a:moveTo>
                  <a:cubicBezTo>
                    <a:pt x="8" y="290"/>
                    <a:pt x="8" y="290"/>
                    <a:pt x="8" y="290"/>
                  </a:cubicBezTo>
                  <a:cubicBezTo>
                    <a:pt x="8" y="290"/>
                    <a:pt x="10" y="294"/>
                    <a:pt x="11" y="295"/>
                  </a:cubicBezTo>
                  <a:cubicBezTo>
                    <a:pt x="12" y="296"/>
                    <a:pt x="14" y="298"/>
                    <a:pt x="14" y="298"/>
                  </a:cubicBezTo>
                  <a:cubicBezTo>
                    <a:pt x="14" y="298"/>
                    <a:pt x="15" y="296"/>
                    <a:pt x="13" y="294"/>
                  </a:cubicBezTo>
                  <a:cubicBezTo>
                    <a:pt x="12" y="292"/>
                    <a:pt x="9" y="290"/>
                    <a:pt x="9" y="290"/>
                  </a:cubicBezTo>
                  <a:close/>
                  <a:moveTo>
                    <a:pt x="13" y="340"/>
                  </a:moveTo>
                  <a:cubicBezTo>
                    <a:pt x="11" y="337"/>
                    <a:pt x="11" y="337"/>
                    <a:pt x="11" y="337"/>
                  </a:cubicBezTo>
                  <a:cubicBezTo>
                    <a:pt x="8" y="340"/>
                    <a:pt x="8" y="340"/>
                    <a:pt x="8" y="340"/>
                  </a:cubicBezTo>
                  <a:cubicBezTo>
                    <a:pt x="9" y="342"/>
                    <a:pt x="9" y="342"/>
                    <a:pt x="9" y="342"/>
                  </a:cubicBezTo>
                  <a:lnTo>
                    <a:pt x="13" y="340"/>
                  </a:lnTo>
                  <a:close/>
                  <a:moveTo>
                    <a:pt x="9" y="324"/>
                  </a:moveTo>
                  <a:cubicBezTo>
                    <a:pt x="11" y="325"/>
                    <a:pt x="13" y="325"/>
                    <a:pt x="13" y="325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13" y="318"/>
                    <a:pt x="13" y="318"/>
                    <a:pt x="13" y="318"/>
                  </a:cubicBezTo>
                  <a:cubicBezTo>
                    <a:pt x="10" y="310"/>
                    <a:pt x="10" y="310"/>
                    <a:pt x="10" y="310"/>
                  </a:cubicBezTo>
                  <a:cubicBezTo>
                    <a:pt x="9" y="313"/>
                    <a:pt x="9" y="313"/>
                    <a:pt x="9" y="313"/>
                  </a:cubicBezTo>
                  <a:cubicBezTo>
                    <a:pt x="11" y="317"/>
                    <a:pt x="11" y="317"/>
                    <a:pt x="11" y="317"/>
                  </a:cubicBezTo>
                  <a:cubicBezTo>
                    <a:pt x="7" y="318"/>
                    <a:pt x="7" y="318"/>
                    <a:pt x="7" y="318"/>
                  </a:cubicBezTo>
                  <a:cubicBezTo>
                    <a:pt x="7" y="318"/>
                    <a:pt x="7" y="322"/>
                    <a:pt x="9" y="324"/>
                  </a:cubicBezTo>
                  <a:close/>
                  <a:moveTo>
                    <a:pt x="7" y="286"/>
                  </a:moveTo>
                  <a:cubicBezTo>
                    <a:pt x="11" y="289"/>
                    <a:pt x="11" y="289"/>
                    <a:pt x="11" y="289"/>
                  </a:cubicBezTo>
                  <a:cubicBezTo>
                    <a:pt x="9" y="284"/>
                    <a:pt x="9" y="284"/>
                    <a:pt x="9" y="284"/>
                  </a:cubicBezTo>
                  <a:lnTo>
                    <a:pt x="7" y="286"/>
                  </a:lnTo>
                  <a:close/>
                  <a:moveTo>
                    <a:pt x="11" y="301"/>
                  </a:moveTo>
                  <a:cubicBezTo>
                    <a:pt x="12" y="301"/>
                    <a:pt x="16" y="303"/>
                    <a:pt x="16" y="303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1"/>
                    <a:pt x="11" y="298"/>
                    <a:pt x="10" y="298"/>
                  </a:cubicBezTo>
                  <a:cubicBezTo>
                    <a:pt x="9" y="298"/>
                    <a:pt x="10" y="300"/>
                    <a:pt x="11" y="30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German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241677" y="2535470"/>
              <a:ext cx="1077292" cy="1453206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Serbia" descr="© INSCALE GmbH, 05.05.2010&#10;http://www.presentationload.com/"/>
            <p:cNvSpPr>
              <a:spLocks/>
            </p:cNvSpPr>
            <p:nvPr/>
          </p:nvSpPr>
          <p:spPr bwMode="gray">
            <a:xfrm>
              <a:off x="4867389" y="4123754"/>
              <a:ext cx="616758" cy="691616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Kosovo" descr="© INSCALE GmbH, 05.05.2010&#10;http://www.presentationload.com/"/>
            <p:cNvSpPr>
              <a:spLocks/>
            </p:cNvSpPr>
            <p:nvPr/>
          </p:nvSpPr>
          <p:spPr bwMode="gray">
            <a:xfrm>
              <a:off x="5067558" y="4646127"/>
              <a:ext cx="265258" cy="270137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Montenegro" descr="© INSCALE GmbH, 05.05.2010&#10;http://www.presentationload.com/"/>
            <p:cNvSpPr>
              <a:spLocks/>
            </p:cNvSpPr>
            <p:nvPr/>
          </p:nvSpPr>
          <p:spPr bwMode="gray">
            <a:xfrm>
              <a:off x="4873886" y="4610314"/>
              <a:ext cx="247354" cy="309192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Roma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043129" y="3604627"/>
              <a:ext cx="1264436" cy="89991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an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879599" y="3230341"/>
              <a:ext cx="1767280" cy="183888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rgbClr val="A9C5E7"/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rgbClr val="C4D6EB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Georgia" descr="© INSCALE GmbH, 05.05.2010&#10;http://www.presentationload.com/"/>
            <p:cNvSpPr>
              <a:spLocks/>
            </p:cNvSpPr>
            <p:nvPr/>
          </p:nvSpPr>
          <p:spPr bwMode="gray">
            <a:xfrm>
              <a:off x="7708694" y="3796647"/>
              <a:ext cx="1034982" cy="42961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Azerbaij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499577" y="3718538"/>
              <a:ext cx="644423" cy="688360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Iran" descr="© INSCALE GmbH, 05.05.2010&#10;http://www.presentationload.com/"/>
            <p:cNvSpPr>
              <a:spLocks/>
            </p:cNvSpPr>
            <p:nvPr/>
          </p:nvSpPr>
          <p:spPr bwMode="gray">
            <a:xfrm>
              <a:off x="8541888" y="4107469"/>
              <a:ext cx="602112" cy="823429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Kazakhst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991850" y="727505"/>
              <a:ext cx="1152150" cy="2598846"/>
            </a:xfrm>
            <a:custGeom>
              <a:avLst/>
              <a:gdLst/>
              <a:ahLst/>
              <a:cxnLst>
                <a:cxn ang="0">
                  <a:pos x="391" y="18"/>
                </a:cxn>
                <a:cxn ang="0">
                  <a:pos x="366" y="53"/>
                </a:cxn>
                <a:cxn ang="0">
                  <a:pos x="352" y="80"/>
                </a:cxn>
                <a:cxn ang="0">
                  <a:pos x="327" y="92"/>
                </a:cxn>
                <a:cxn ang="0">
                  <a:pos x="336" y="113"/>
                </a:cxn>
                <a:cxn ang="0">
                  <a:pos x="359" y="108"/>
                </a:cxn>
                <a:cxn ang="0">
                  <a:pos x="373" y="120"/>
                </a:cxn>
                <a:cxn ang="0">
                  <a:pos x="386" y="135"/>
                </a:cxn>
                <a:cxn ang="0">
                  <a:pos x="367" y="152"/>
                </a:cxn>
                <a:cxn ang="0">
                  <a:pos x="393" y="177"/>
                </a:cxn>
                <a:cxn ang="0">
                  <a:pos x="380" y="229"/>
                </a:cxn>
                <a:cxn ang="0">
                  <a:pos x="408" y="0"/>
                </a:cxn>
                <a:cxn ang="0">
                  <a:pos x="287" y="841"/>
                </a:cxn>
                <a:cxn ang="0">
                  <a:pos x="290" y="834"/>
                </a:cxn>
                <a:cxn ang="0">
                  <a:pos x="355" y="318"/>
                </a:cxn>
                <a:cxn ang="0">
                  <a:pos x="337" y="346"/>
                </a:cxn>
                <a:cxn ang="0">
                  <a:pos x="296" y="357"/>
                </a:cxn>
                <a:cxn ang="0">
                  <a:pos x="290" y="404"/>
                </a:cxn>
                <a:cxn ang="0">
                  <a:pos x="234" y="405"/>
                </a:cxn>
                <a:cxn ang="0">
                  <a:pos x="246" y="435"/>
                </a:cxn>
                <a:cxn ang="0">
                  <a:pos x="202" y="412"/>
                </a:cxn>
                <a:cxn ang="0">
                  <a:pos x="153" y="421"/>
                </a:cxn>
                <a:cxn ang="0">
                  <a:pos x="127" y="427"/>
                </a:cxn>
                <a:cxn ang="0">
                  <a:pos x="104" y="456"/>
                </a:cxn>
                <a:cxn ang="0">
                  <a:pos x="84" y="456"/>
                </a:cxn>
                <a:cxn ang="0">
                  <a:pos x="78" y="486"/>
                </a:cxn>
                <a:cxn ang="0">
                  <a:pos x="51" y="524"/>
                </a:cxn>
                <a:cxn ang="0">
                  <a:pos x="36" y="558"/>
                </a:cxn>
                <a:cxn ang="0">
                  <a:pos x="61" y="585"/>
                </a:cxn>
                <a:cxn ang="0">
                  <a:pos x="14" y="590"/>
                </a:cxn>
                <a:cxn ang="0">
                  <a:pos x="12" y="668"/>
                </a:cxn>
                <a:cxn ang="0">
                  <a:pos x="57" y="726"/>
                </a:cxn>
                <a:cxn ang="0">
                  <a:pos x="86" y="752"/>
                </a:cxn>
                <a:cxn ang="0">
                  <a:pos x="125" y="746"/>
                </a:cxn>
                <a:cxn ang="0">
                  <a:pos x="160" y="777"/>
                </a:cxn>
                <a:cxn ang="0">
                  <a:pos x="196" y="783"/>
                </a:cxn>
                <a:cxn ang="0">
                  <a:pos x="198" y="775"/>
                </a:cxn>
                <a:cxn ang="0">
                  <a:pos x="209" y="774"/>
                </a:cxn>
                <a:cxn ang="0">
                  <a:pos x="223" y="755"/>
                </a:cxn>
                <a:cxn ang="0">
                  <a:pos x="236" y="730"/>
                </a:cxn>
                <a:cxn ang="0">
                  <a:pos x="262" y="697"/>
                </a:cxn>
                <a:cxn ang="0">
                  <a:pos x="274" y="698"/>
                </a:cxn>
                <a:cxn ang="0">
                  <a:pos x="290" y="693"/>
                </a:cxn>
                <a:cxn ang="0">
                  <a:pos x="304" y="675"/>
                </a:cxn>
                <a:cxn ang="0">
                  <a:pos x="326" y="669"/>
                </a:cxn>
                <a:cxn ang="0">
                  <a:pos x="337" y="681"/>
                </a:cxn>
                <a:cxn ang="0">
                  <a:pos x="352" y="693"/>
                </a:cxn>
                <a:cxn ang="0">
                  <a:pos x="357" y="699"/>
                </a:cxn>
                <a:cxn ang="0">
                  <a:pos x="367" y="750"/>
                </a:cxn>
                <a:cxn ang="0">
                  <a:pos x="346" y="776"/>
                </a:cxn>
                <a:cxn ang="0">
                  <a:pos x="321" y="804"/>
                </a:cxn>
                <a:cxn ang="0">
                  <a:pos x="313" y="824"/>
                </a:cxn>
                <a:cxn ang="0">
                  <a:pos x="327" y="830"/>
                </a:cxn>
                <a:cxn ang="0">
                  <a:pos x="352" y="833"/>
                </a:cxn>
                <a:cxn ang="0">
                  <a:pos x="312" y="854"/>
                </a:cxn>
                <a:cxn ang="0">
                  <a:pos x="367" y="896"/>
                </a:cxn>
                <a:cxn ang="0">
                  <a:pos x="397" y="915"/>
                </a:cxn>
                <a:cxn ang="0">
                  <a:pos x="408" y="310"/>
                </a:cxn>
              </a:cxnLst>
              <a:rect l="0" t="0" r="r" b="b"/>
              <a:pathLst>
                <a:path w="408" h="921">
                  <a:moveTo>
                    <a:pt x="401" y="0"/>
                  </a:moveTo>
                  <a:cubicBezTo>
                    <a:pt x="395" y="9"/>
                    <a:pt x="395" y="9"/>
                    <a:pt x="395" y="9"/>
                  </a:cubicBezTo>
                  <a:cubicBezTo>
                    <a:pt x="395" y="9"/>
                    <a:pt x="400" y="12"/>
                    <a:pt x="398" y="15"/>
                  </a:cubicBezTo>
                  <a:cubicBezTo>
                    <a:pt x="397" y="18"/>
                    <a:pt x="391" y="18"/>
                    <a:pt x="391" y="18"/>
                  </a:cubicBezTo>
                  <a:cubicBezTo>
                    <a:pt x="385" y="30"/>
                    <a:pt x="385" y="30"/>
                    <a:pt x="385" y="30"/>
                  </a:cubicBezTo>
                  <a:cubicBezTo>
                    <a:pt x="377" y="33"/>
                    <a:pt x="377" y="33"/>
                    <a:pt x="377" y="33"/>
                  </a:cubicBezTo>
                  <a:cubicBezTo>
                    <a:pt x="381" y="40"/>
                    <a:pt x="381" y="40"/>
                    <a:pt x="381" y="40"/>
                  </a:cubicBezTo>
                  <a:cubicBezTo>
                    <a:pt x="366" y="53"/>
                    <a:pt x="366" y="53"/>
                    <a:pt x="366" y="53"/>
                  </a:cubicBezTo>
                  <a:cubicBezTo>
                    <a:pt x="366" y="53"/>
                    <a:pt x="376" y="65"/>
                    <a:pt x="371" y="67"/>
                  </a:cubicBezTo>
                  <a:cubicBezTo>
                    <a:pt x="365" y="70"/>
                    <a:pt x="362" y="61"/>
                    <a:pt x="362" y="61"/>
                  </a:cubicBezTo>
                  <a:cubicBezTo>
                    <a:pt x="354" y="73"/>
                    <a:pt x="354" y="73"/>
                    <a:pt x="354" y="73"/>
                  </a:cubicBezTo>
                  <a:cubicBezTo>
                    <a:pt x="352" y="80"/>
                    <a:pt x="352" y="80"/>
                    <a:pt x="352" y="80"/>
                  </a:cubicBezTo>
                  <a:cubicBezTo>
                    <a:pt x="343" y="78"/>
                    <a:pt x="343" y="78"/>
                    <a:pt x="343" y="78"/>
                  </a:cubicBezTo>
                  <a:cubicBezTo>
                    <a:pt x="341" y="84"/>
                    <a:pt x="341" y="84"/>
                    <a:pt x="341" y="84"/>
                  </a:cubicBezTo>
                  <a:cubicBezTo>
                    <a:pt x="328" y="84"/>
                    <a:pt x="328" y="84"/>
                    <a:pt x="328" y="84"/>
                  </a:cubicBezTo>
                  <a:cubicBezTo>
                    <a:pt x="327" y="92"/>
                    <a:pt x="327" y="92"/>
                    <a:pt x="327" y="92"/>
                  </a:cubicBezTo>
                  <a:cubicBezTo>
                    <a:pt x="331" y="94"/>
                    <a:pt x="331" y="94"/>
                    <a:pt x="331" y="94"/>
                  </a:cubicBezTo>
                  <a:cubicBezTo>
                    <a:pt x="322" y="103"/>
                    <a:pt x="322" y="103"/>
                    <a:pt x="322" y="103"/>
                  </a:cubicBezTo>
                  <a:cubicBezTo>
                    <a:pt x="334" y="101"/>
                    <a:pt x="334" y="101"/>
                    <a:pt x="334" y="101"/>
                  </a:cubicBezTo>
                  <a:cubicBezTo>
                    <a:pt x="336" y="113"/>
                    <a:pt x="336" y="113"/>
                    <a:pt x="336" y="113"/>
                  </a:cubicBezTo>
                  <a:cubicBezTo>
                    <a:pt x="333" y="119"/>
                    <a:pt x="333" y="119"/>
                    <a:pt x="333" y="119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8" y="116"/>
                    <a:pt x="348" y="116"/>
                    <a:pt x="348" y="116"/>
                  </a:cubicBezTo>
                  <a:cubicBezTo>
                    <a:pt x="348" y="116"/>
                    <a:pt x="354" y="104"/>
                    <a:pt x="359" y="108"/>
                  </a:cubicBezTo>
                  <a:cubicBezTo>
                    <a:pt x="364" y="111"/>
                    <a:pt x="354" y="116"/>
                    <a:pt x="354" y="116"/>
                  </a:cubicBezTo>
                  <a:cubicBezTo>
                    <a:pt x="358" y="129"/>
                    <a:pt x="358" y="129"/>
                    <a:pt x="358" y="129"/>
                  </a:cubicBezTo>
                  <a:cubicBezTo>
                    <a:pt x="374" y="124"/>
                    <a:pt x="374" y="124"/>
                    <a:pt x="374" y="124"/>
                  </a:cubicBezTo>
                  <a:cubicBezTo>
                    <a:pt x="373" y="120"/>
                    <a:pt x="373" y="120"/>
                    <a:pt x="373" y="120"/>
                  </a:cubicBezTo>
                  <a:cubicBezTo>
                    <a:pt x="373" y="120"/>
                    <a:pt x="379" y="120"/>
                    <a:pt x="382" y="119"/>
                  </a:cubicBezTo>
                  <a:cubicBezTo>
                    <a:pt x="387" y="117"/>
                    <a:pt x="389" y="111"/>
                    <a:pt x="393" y="115"/>
                  </a:cubicBezTo>
                  <a:cubicBezTo>
                    <a:pt x="398" y="119"/>
                    <a:pt x="400" y="122"/>
                    <a:pt x="396" y="124"/>
                  </a:cubicBezTo>
                  <a:cubicBezTo>
                    <a:pt x="392" y="126"/>
                    <a:pt x="386" y="135"/>
                    <a:pt x="386" y="135"/>
                  </a:cubicBezTo>
                  <a:cubicBezTo>
                    <a:pt x="377" y="136"/>
                    <a:pt x="377" y="136"/>
                    <a:pt x="377" y="136"/>
                  </a:cubicBezTo>
                  <a:cubicBezTo>
                    <a:pt x="372" y="141"/>
                    <a:pt x="372" y="141"/>
                    <a:pt x="372" y="141"/>
                  </a:cubicBezTo>
                  <a:cubicBezTo>
                    <a:pt x="361" y="149"/>
                    <a:pt x="361" y="149"/>
                    <a:pt x="361" y="149"/>
                  </a:cubicBezTo>
                  <a:cubicBezTo>
                    <a:pt x="361" y="149"/>
                    <a:pt x="367" y="151"/>
                    <a:pt x="367" y="152"/>
                  </a:cubicBezTo>
                  <a:cubicBezTo>
                    <a:pt x="367" y="154"/>
                    <a:pt x="364" y="171"/>
                    <a:pt x="364" y="171"/>
                  </a:cubicBezTo>
                  <a:cubicBezTo>
                    <a:pt x="378" y="176"/>
                    <a:pt x="378" y="176"/>
                    <a:pt x="378" y="176"/>
                  </a:cubicBezTo>
                  <a:cubicBezTo>
                    <a:pt x="383" y="174"/>
                    <a:pt x="383" y="174"/>
                    <a:pt x="383" y="174"/>
                  </a:cubicBezTo>
                  <a:cubicBezTo>
                    <a:pt x="393" y="177"/>
                    <a:pt x="393" y="177"/>
                    <a:pt x="393" y="177"/>
                  </a:cubicBezTo>
                  <a:cubicBezTo>
                    <a:pt x="391" y="199"/>
                    <a:pt x="391" y="199"/>
                    <a:pt x="391" y="199"/>
                  </a:cubicBezTo>
                  <a:cubicBezTo>
                    <a:pt x="385" y="201"/>
                    <a:pt x="385" y="201"/>
                    <a:pt x="385" y="201"/>
                  </a:cubicBezTo>
                  <a:cubicBezTo>
                    <a:pt x="377" y="224"/>
                    <a:pt x="377" y="224"/>
                    <a:pt x="377" y="224"/>
                  </a:cubicBezTo>
                  <a:cubicBezTo>
                    <a:pt x="380" y="229"/>
                    <a:pt x="380" y="229"/>
                    <a:pt x="380" y="229"/>
                  </a:cubicBezTo>
                  <a:cubicBezTo>
                    <a:pt x="380" y="229"/>
                    <a:pt x="396" y="219"/>
                    <a:pt x="398" y="222"/>
                  </a:cubicBezTo>
                  <a:cubicBezTo>
                    <a:pt x="402" y="226"/>
                    <a:pt x="398" y="230"/>
                    <a:pt x="398" y="230"/>
                  </a:cubicBezTo>
                  <a:cubicBezTo>
                    <a:pt x="408" y="229"/>
                    <a:pt x="408" y="229"/>
                    <a:pt x="408" y="22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401" y="0"/>
                  </a:lnTo>
                  <a:close/>
                  <a:moveTo>
                    <a:pt x="290" y="834"/>
                  </a:moveTo>
                  <a:cubicBezTo>
                    <a:pt x="285" y="834"/>
                    <a:pt x="285" y="834"/>
                    <a:pt x="285" y="834"/>
                  </a:cubicBezTo>
                  <a:cubicBezTo>
                    <a:pt x="287" y="841"/>
                    <a:pt x="287" y="841"/>
                    <a:pt x="287" y="841"/>
                  </a:cubicBezTo>
                  <a:cubicBezTo>
                    <a:pt x="291" y="846"/>
                    <a:pt x="291" y="846"/>
                    <a:pt x="291" y="846"/>
                  </a:cubicBezTo>
                  <a:cubicBezTo>
                    <a:pt x="293" y="845"/>
                    <a:pt x="293" y="845"/>
                    <a:pt x="293" y="845"/>
                  </a:cubicBezTo>
                  <a:cubicBezTo>
                    <a:pt x="291" y="841"/>
                    <a:pt x="291" y="841"/>
                    <a:pt x="291" y="841"/>
                  </a:cubicBezTo>
                  <a:lnTo>
                    <a:pt x="290" y="834"/>
                  </a:lnTo>
                  <a:close/>
                  <a:moveTo>
                    <a:pt x="379" y="317"/>
                  </a:moveTo>
                  <a:cubicBezTo>
                    <a:pt x="370" y="312"/>
                    <a:pt x="370" y="306"/>
                    <a:pt x="364" y="306"/>
                  </a:cubicBezTo>
                  <a:cubicBezTo>
                    <a:pt x="359" y="308"/>
                    <a:pt x="354" y="309"/>
                    <a:pt x="354" y="309"/>
                  </a:cubicBezTo>
                  <a:cubicBezTo>
                    <a:pt x="354" y="309"/>
                    <a:pt x="358" y="316"/>
                    <a:pt x="355" y="318"/>
                  </a:cubicBezTo>
                  <a:cubicBezTo>
                    <a:pt x="353" y="320"/>
                    <a:pt x="336" y="327"/>
                    <a:pt x="336" y="327"/>
                  </a:cubicBezTo>
                  <a:cubicBezTo>
                    <a:pt x="345" y="336"/>
                    <a:pt x="345" y="336"/>
                    <a:pt x="345" y="336"/>
                  </a:cubicBezTo>
                  <a:cubicBezTo>
                    <a:pt x="345" y="336"/>
                    <a:pt x="338" y="336"/>
                    <a:pt x="337" y="337"/>
                  </a:cubicBezTo>
                  <a:cubicBezTo>
                    <a:pt x="336" y="340"/>
                    <a:pt x="340" y="344"/>
                    <a:pt x="337" y="346"/>
                  </a:cubicBezTo>
                  <a:cubicBezTo>
                    <a:pt x="332" y="348"/>
                    <a:pt x="318" y="343"/>
                    <a:pt x="318" y="343"/>
                  </a:cubicBezTo>
                  <a:cubicBezTo>
                    <a:pt x="306" y="352"/>
                    <a:pt x="306" y="352"/>
                    <a:pt x="306" y="352"/>
                  </a:cubicBezTo>
                  <a:cubicBezTo>
                    <a:pt x="306" y="352"/>
                    <a:pt x="311" y="360"/>
                    <a:pt x="307" y="361"/>
                  </a:cubicBezTo>
                  <a:cubicBezTo>
                    <a:pt x="303" y="361"/>
                    <a:pt x="296" y="357"/>
                    <a:pt x="296" y="357"/>
                  </a:cubicBezTo>
                  <a:cubicBezTo>
                    <a:pt x="297" y="372"/>
                    <a:pt x="297" y="372"/>
                    <a:pt x="297" y="372"/>
                  </a:cubicBezTo>
                  <a:cubicBezTo>
                    <a:pt x="292" y="374"/>
                    <a:pt x="292" y="374"/>
                    <a:pt x="292" y="374"/>
                  </a:cubicBezTo>
                  <a:cubicBezTo>
                    <a:pt x="292" y="374"/>
                    <a:pt x="298" y="380"/>
                    <a:pt x="296" y="387"/>
                  </a:cubicBezTo>
                  <a:cubicBezTo>
                    <a:pt x="294" y="392"/>
                    <a:pt x="290" y="404"/>
                    <a:pt x="290" y="404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8" y="407"/>
                    <a:pt x="258" y="404"/>
                    <a:pt x="255" y="403"/>
                  </a:cubicBezTo>
                  <a:cubicBezTo>
                    <a:pt x="251" y="403"/>
                    <a:pt x="248" y="405"/>
                    <a:pt x="248" y="405"/>
                  </a:cubicBezTo>
                  <a:cubicBezTo>
                    <a:pt x="248" y="405"/>
                    <a:pt x="236" y="400"/>
                    <a:pt x="234" y="405"/>
                  </a:cubicBezTo>
                  <a:cubicBezTo>
                    <a:pt x="232" y="409"/>
                    <a:pt x="232" y="412"/>
                    <a:pt x="234" y="413"/>
                  </a:cubicBezTo>
                  <a:cubicBezTo>
                    <a:pt x="238" y="413"/>
                    <a:pt x="243" y="412"/>
                    <a:pt x="245" y="418"/>
                  </a:cubicBezTo>
                  <a:cubicBezTo>
                    <a:pt x="247" y="422"/>
                    <a:pt x="255" y="422"/>
                    <a:pt x="254" y="426"/>
                  </a:cubicBezTo>
                  <a:cubicBezTo>
                    <a:pt x="252" y="430"/>
                    <a:pt x="251" y="438"/>
                    <a:pt x="246" y="435"/>
                  </a:cubicBezTo>
                  <a:cubicBezTo>
                    <a:pt x="242" y="432"/>
                    <a:pt x="239" y="426"/>
                    <a:pt x="239" y="423"/>
                  </a:cubicBezTo>
                  <a:cubicBezTo>
                    <a:pt x="239" y="419"/>
                    <a:pt x="238" y="418"/>
                    <a:pt x="232" y="418"/>
                  </a:cubicBezTo>
                  <a:cubicBezTo>
                    <a:pt x="227" y="418"/>
                    <a:pt x="221" y="419"/>
                    <a:pt x="215" y="414"/>
                  </a:cubicBezTo>
                  <a:cubicBezTo>
                    <a:pt x="210" y="410"/>
                    <a:pt x="205" y="409"/>
                    <a:pt x="202" y="412"/>
                  </a:cubicBezTo>
                  <a:cubicBezTo>
                    <a:pt x="199" y="416"/>
                    <a:pt x="198" y="418"/>
                    <a:pt x="194" y="416"/>
                  </a:cubicBezTo>
                  <a:cubicBezTo>
                    <a:pt x="189" y="415"/>
                    <a:pt x="191" y="407"/>
                    <a:pt x="182" y="408"/>
                  </a:cubicBezTo>
                  <a:cubicBezTo>
                    <a:pt x="174" y="409"/>
                    <a:pt x="161" y="421"/>
                    <a:pt x="161" y="421"/>
                  </a:cubicBezTo>
                  <a:cubicBezTo>
                    <a:pt x="153" y="421"/>
                    <a:pt x="153" y="421"/>
                    <a:pt x="153" y="421"/>
                  </a:cubicBezTo>
                  <a:cubicBezTo>
                    <a:pt x="153" y="421"/>
                    <a:pt x="157" y="427"/>
                    <a:pt x="151" y="427"/>
                  </a:cubicBezTo>
                  <a:cubicBezTo>
                    <a:pt x="145" y="428"/>
                    <a:pt x="129" y="418"/>
                    <a:pt x="129" y="418"/>
                  </a:cubicBezTo>
                  <a:cubicBezTo>
                    <a:pt x="125" y="420"/>
                    <a:pt x="125" y="420"/>
                    <a:pt x="125" y="420"/>
                  </a:cubicBezTo>
                  <a:cubicBezTo>
                    <a:pt x="127" y="427"/>
                    <a:pt x="127" y="427"/>
                    <a:pt x="127" y="427"/>
                  </a:cubicBezTo>
                  <a:cubicBezTo>
                    <a:pt x="127" y="427"/>
                    <a:pt x="118" y="427"/>
                    <a:pt x="116" y="431"/>
                  </a:cubicBezTo>
                  <a:cubicBezTo>
                    <a:pt x="114" y="436"/>
                    <a:pt x="123" y="442"/>
                    <a:pt x="119" y="444"/>
                  </a:cubicBezTo>
                  <a:cubicBezTo>
                    <a:pt x="116" y="446"/>
                    <a:pt x="111" y="445"/>
                    <a:pt x="111" y="445"/>
                  </a:cubicBezTo>
                  <a:cubicBezTo>
                    <a:pt x="111" y="445"/>
                    <a:pt x="110" y="458"/>
                    <a:pt x="104" y="456"/>
                  </a:cubicBezTo>
                  <a:cubicBezTo>
                    <a:pt x="99" y="455"/>
                    <a:pt x="105" y="445"/>
                    <a:pt x="102" y="444"/>
                  </a:cubicBezTo>
                  <a:cubicBezTo>
                    <a:pt x="99" y="443"/>
                    <a:pt x="88" y="450"/>
                    <a:pt x="88" y="450"/>
                  </a:cubicBezTo>
                  <a:cubicBezTo>
                    <a:pt x="77" y="450"/>
                    <a:pt x="77" y="450"/>
                    <a:pt x="77" y="450"/>
                  </a:cubicBezTo>
                  <a:cubicBezTo>
                    <a:pt x="84" y="456"/>
                    <a:pt x="84" y="456"/>
                    <a:pt x="84" y="456"/>
                  </a:cubicBezTo>
                  <a:cubicBezTo>
                    <a:pt x="84" y="456"/>
                    <a:pt x="79" y="459"/>
                    <a:pt x="77" y="461"/>
                  </a:cubicBezTo>
                  <a:cubicBezTo>
                    <a:pt x="75" y="463"/>
                    <a:pt x="80" y="470"/>
                    <a:pt x="80" y="472"/>
                  </a:cubicBezTo>
                  <a:cubicBezTo>
                    <a:pt x="80" y="475"/>
                    <a:pt x="70" y="477"/>
                    <a:pt x="71" y="479"/>
                  </a:cubicBezTo>
                  <a:cubicBezTo>
                    <a:pt x="72" y="483"/>
                    <a:pt x="79" y="482"/>
                    <a:pt x="78" y="486"/>
                  </a:cubicBezTo>
                  <a:cubicBezTo>
                    <a:pt x="78" y="489"/>
                    <a:pt x="65" y="497"/>
                    <a:pt x="65" y="497"/>
                  </a:cubicBezTo>
                  <a:cubicBezTo>
                    <a:pt x="59" y="508"/>
                    <a:pt x="59" y="508"/>
                    <a:pt x="59" y="508"/>
                  </a:cubicBezTo>
                  <a:cubicBezTo>
                    <a:pt x="49" y="514"/>
                    <a:pt x="49" y="514"/>
                    <a:pt x="49" y="514"/>
                  </a:cubicBezTo>
                  <a:cubicBezTo>
                    <a:pt x="51" y="524"/>
                    <a:pt x="51" y="524"/>
                    <a:pt x="51" y="524"/>
                  </a:cubicBezTo>
                  <a:cubicBezTo>
                    <a:pt x="51" y="524"/>
                    <a:pt x="61" y="523"/>
                    <a:pt x="59" y="527"/>
                  </a:cubicBezTo>
                  <a:cubicBezTo>
                    <a:pt x="58" y="533"/>
                    <a:pt x="51" y="538"/>
                    <a:pt x="51" y="538"/>
                  </a:cubicBezTo>
                  <a:cubicBezTo>
                    <a:pt x="51" y="538"/>
                    <a:pt x="53" y="554"/>
                    <a:pt x="47" y="555"/>
                  </a:cubicBezTo>
                  <a:cubicBezTo>
                    <a:pt x="41" y="556"/>
                    <a:pt x="36" y="558"/>
                    <a:pt x="36" y="558"/>
                  </a:cubicBezTo>
                  <a:cubicBezTo>
                    <a:pt x="35" y="562"/>
                    <a:pt x="35" y="562"/>
                    <a:pt x="35" y="562"/>
                  </a:cubicBezTo>
                  <a:cubicBezTo>
                    <a:pt x="39" y="562"/>
                    <a:pt x="39" y="562"/>
                    <a:pt x="39" y="562"/>
                  </a:cubicBezTo>
                  <a:cubicBezTo>
                    <a:pt x="39" y="562"/>
                    <a:pt x="49" y="574"/>
                    <a:pt x="53" y="578"/>
                  </a:cubicBezTo>
                  <a:cubicBezTo>
                    <a:pt x="58" y="580"/>
                    <a:pt x="61" y="585"/>
                    <a:pt x="61" y="585"/>
                  </a:cubicBezTo>
                  <a:cubicBezTo>
                    <a:pt x="61" y="585"/>
                    <a:pt x="68" y="577"/>
                    <a:pt x="67" y="586"/>
                  </a:cubicBezTo>
                  <a:cubicBezTo>
                    <a:pt x="66" y="596"/>
                    <a:pt x="60" y="610"/>
                    <a:pt x="54" y="610"/>
                  </a:cubicBezTo>
                  <a:cubicBezTo>
                    <a:pt x="48" y="610"/>
                    <a:pt x="41" y="611"/>
                    <a:pt x="37" y="604"/>
                  </a:cubicBezTo>
                  <a:cubicBezTo>
                    <a:pt x="34" y="599"/>
                    <a:pt x="22" y="590"/>
                    <a:pt x="14" y="590"/>
                  </a:cubicBezTo>
                  <a:cubicBezTo>
                    <a:pt x="4" y="590"/>
                    <a:pt x="0" y="597"/>
                    <a:pt x="1" y="604"/>
                  </a:cubicBezTo>
                  <a:cubicBezTo>
                    <a:pt x="1" y="612"/>
                    <a:pt x="10" y="613"/>
                    <a:pt x="9" y="618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12" y="668"/>
                    <a:pt x="12" y="668"/>
                    <a:pt x="12" y="668"/>
                  </a:cubicBezTo>
                  <a:cubicBezTo>
                    <a:pt x="12" y="668"/>
                    <a:pt x="22" y="666"/>
                    <a:pt x="25" y="675"/>
                  </a:cubicBezTo>
                  <a:cubicBezTo>
                    <a:pt x="28" y="683"/>
                    <a:pt x="22" y="693"/>
                    <a:pt x="22" y="693"/>
                  </a:cubicBezTo>
                  <a:cubicBezTo>
                    <a:pt x="28" y="732"/>
                    <a:pt x="28" y="732"/>
                    <a:pt x="28" y="732"/>
                  </a:cubicBezTo>
                  <a:cubicBezTo>
                    <a:pt x="57" y="726"/>
                    <a:pt x="57" y="726"/>
                    <a:pt x="57" y="726"/>
                  </a:cubicBezTo>
                  <a:cubicBezTo>
                    <a:pt x="57" y="726"/>
                    <a:pt x="57" y="730"/>
                    <a:pt x="60" y="732"/>
                  </a:cubicBezTo>
                  <a:cubicBezTo>
                    <a:pt x="62" y="735"/>
                    <a:pt x="67" y="737"/>
                    <a:pt x="65" y="740"/>
                  </a:cubicBezTo>
                  <a:cubicBezTo>
                    <a:pt x="64" y="742"/>
                    <a:pt x="63" y="749"/>
                    <a:pt x="68" y="750"/>
                  </a:cubicBezTo>
                  <a:cubicBezTo>
                    <a:pt x="74" y="752"/>
                    <a:pt x="86" y="752"/>
                    <a:pt x="86" y="752"/>
                  </a:cubicBezTo>
                  <a:cubicBezTo>
                    <a:pt x="82" y="744"/>
                    <a:pt x="82" y="744"/>
                    <a:pt x="82" y="744"/>
                  </a:cubicBezTo>
                  <a:cubicBezTo>
                    <a:pt x="82" y="744"/>
                    <a:pt x="87" y="745"/>
                    <a:pt x="94" y="743"/>
                  </a:cubicBezTo>
                  <a:cubicBezTo>
                    <a:pt x="101" y="741"/>
                    <a:pt x="98" y="729"/>
                    <a:pt x="108" y="732"/>
                  </a:cubicBezTo>
                  <a:cubicBezTo>
                    <a:pt x="117" y="735"/>
                    <a:pt x="118" y="746"/>
                    <a:pt x="125" y="746"/>
                  </a:cubicBezTo>
                  <a:cubicBezTo>
                    <a:pt x="132" y="746"/>
                    <a:pt x="133" y="742"/>
                    <a:pt x="139" y="744"/>
                  </a:cubicBezTo>
                  <a:cubicBezTo>
                    <a:pt x="144" y="747"/>
                    <a:pt x="149" y="758"/>
                    <a:pt x="157" y="760"/>
                  </a:cubicBezTo>
                  <a:cubicBezTo>
                    <a:pt x="164" y="762"/>
                    <a:pt x="183" y="769"/>
                    <a:pt x="178" y="774"/>
                  </a:cubicBezTo>
                  <a:cubicBezTo>
                    <a:pt x="174" y="778"/>
                    <a:pt x="164" y="772"/>
                    <a:pt x="160" y="777"/>
                  </a:cubicBezTo>
                  <a:cubicBezTo>
                    <a:pt x="156" y="784"/>
                    <a:pt x="157" y="790"/>
                    <a:pt x="166" y="791"/>
                  </a:cubicBezTo>
                  <a:cubicBezTo>
                    <a:pt x="177" y="792"/>
                    <a:pt x="200" y="788"/>
                    <a:pt x="200" y="788"/>
                  </a:cubicBezTo>
                  <a:cubicBezTo>
                    <a:pt x="199" y="784"/>
                    <a:pt x="199" y="784"/>
                    <a:pt x="199" y="784"/>
                  </a:cubicBezTo>
                  <a:cubicBezTo>
                    <a:pt x="196" y="783"/>
                    <a:pt x="196" y="783"/>
                    <a:pt x="196" y="783"/>
                  </a:cubicBezTo>
                  <a:cubicBezTo>
                    <a:pt x="202" y="781"/>
                    <a:pt x="202" y="781"/>
                    <a:pt x="202" y="781"/>
                  </a:cubicBezTo>
                  <a:cubicBezTo>
                    <a:pt x="202" y="778"/>
                    <a:pt x="202" y="778"/>
                    <a:pt x="202" y="778"/>
                  </a:cubicBezTo>
                  <a:cubicBezTo>
                    <a:pt x="198" y="779"/>
                    <a:pt x="198" y="779"/>
                    <a:pt x="198" y="779"/>
                  </a:cubicBezTo>
                  <a:cubicBezTo>
                    <a:pt x="198" y="775"/>
                    <a:pt x="198" y="775"/>
                    <a:pt x="198" y="775"/>
                  </a:cubicBezTo>
                  <a:cubicBezTo>
                    <a:pt x="195" y="772"/>
                    <a:pt x="195" y="772"/>
                    <a:pt x="195" y="772"/>
                  </a:cubicBezTo>
                  <a:cubicBezTo>
                    <a:pt x="202" y="774"/>
                    <a:pt x="202" y="774"/>
                    <a:pt x="202" y="774"/>
                  </a:cubicBezTo>
                  <a:cubicBezTo>
                    <a:pt x="205" y="769"/>
                    <a:pt x="205" y="769"/>
                    <a:pt x="205" y="769"/>
                  </a:cubicBezTo>
                  <a:cubicBezTo>
                    <a:pt x="209" y="774"/>
                    <a:pt x="209" y="774"/>
                    <a:pt x="209" y="774"/>
                  </a:cubicBezTo>
                  <a:cubicBezTo>
                    <a:pt x="209" y="768"/>
                    <a:pt x="209" y="768"/>
                    <a:pt x="209" y="768"/>
                  </a:cubicBezTo>
                  <a:cubicBezTo>
                    <a:pt x="209" y="768"/>
                    <a:pt x="212" y="770"/>
                    <a:pt x="215" y="765"/>
                  </a:cubicBezTo>
                  <a:cubicBezTo>
                    <a:pt x="219" y="760"/>
                    <a:pt x="218" y="755"/>
                    <a:pt x="218" y="755"/>
                  </a:cubicBezTo>
                  <a:cubicBezTo>
                    <a:pt x="218" y="755"/>
                    <a:pt x="222" y="758"/>
                    <a:pt x="223" y="755"/>
                  </a:cubicBezTo>
                  <a:cubicBezTo>
                    <a:pt x="225" y="753"/>
                    <a:pt x="224" y="746"/>
                    <a:pt x="224" y="746"/>
                  </a:cubicBezTo>
                  <a:cubicBezTo>
                    <a:pt x="228" y="744"/>
                    <a:pt x="228" y="744"/>
                    <a:pt x="228" y="744"/>
                  </a:cubicBezTo>
                  <a:cubicBezTo>
                    <a:pt x="228" y="730"/>
                    <a:pt x="228" y="730"/>
                    <a:pt x="228" y="730"/>
                  </a:cubicBezTo>
                  <a:cubicBezTo>
                    <a:pt x="236" y="730"/>
                    <a:pt x="236" y="730"/>
                    <a:pt x="236" y="730"/>
                  </a:cubicBezTo>
                  <a:cubicBezTo>
                    <a:pt x="235" y="723"/>
                    <a:pt x="235" y="723"/>
                    <a:pt x="235" y="723"/>
                  </a:cubicBezTo>
                  <a:cubicBezTo>
                    <a:pt x="243" y="722"/>
                    <a:pt x="243" y="722"/>
                    <a:pt x="243" y="722"/>
                  </a:cubicBezTo>
                  <a:cubicBezTo>
                    <a:pt x="243" y="722"/>
                    <a:pt x="239" y="712"/>
                    <a:pt x="247" y="704"/>
                  </a:cubicBezTo>
                  <a:cubicBezTo>
                    <a:pt x="256" y="695"/>
                    <a:pt x="262" y="697"/>
                    <a:pt x="262" y="697"/>
                  </a:cubicBezTo>
                  <a:cubicBezTo>
                    <a:pt x="266" y="695"/>
                    <a:pt x="266" y="695"/>
                    <a:pt x="266" y="695"/>
                  </a:cubicBezTo>
                  <a:cubicBezTo>
                    <a:pt x="268" y="697"/>
                    <a:pt x="268" y="697"/>
                    <a:pt x="268" y="697"/>
                  </a:cubicBezTo>
                  <a:cubicBezTo>
                    <a:pt x="270" y="693"/>
                    <a:pt x="270" y="693"/>
                    <a:pt x="270" y="693"/>
                  </a:cubicBezTo>
                  <a:cubicBezTo>
                    <a:pt x="274" y="698"/>
                    <a:pt x="274" y="698"/>
                    <a:pt x="274" y="698"/>
                  </a:cubicBezTo>
                  <a:cubicBezTo>
                    <a:pt x="281" y="697"/>
                    <a:pt x="281" y="697"/>
                    <a:pt x="281" y="697"/>
                  </a:cubicBezTo>
                  <a:cubicBezTo>
                    <a:pt x="283" y="692"/>
                    <a:pt x="283" y="692"/>
                    <a:pt x="283" y="692"/>
                  </a:cubicBezTo>
                  <a:cubicBezTo>
                    <a:pt x="285" y="698"/>
                    <a:pt x="285" y="698"/>
                    <a:pt x="285" y="698"/>
                  </a:cubicBezTo>
                  <a:cubicBezTo>
                    <a:pt x="290" y="693"/>
                    <a:pt x="290" y="693"/>
                    <a:pt x="290" y="693"/>
                  </a:cubicBezTo>
                  <a:cubicBezTo>
                    <a:pt x="290" y="693"/>
                    <a:pt x="293" y="698"/>
                    <a:pt x="296" y="697"/>
                  </a:cubicBezTo>
                  <a:cubicBezTo>
                    <a:pt x="299" y="696"/>
                    <a:pt x="298" y="689"/>
                    <a:pt x="298" y="689"/>
                  </a:cubicBezTo>
                  <a:cubicBezTo>
                    <a:pt x="304" y="686"/>
                    <a:pt x="304" y="686"/>
                    <a:pt x="304" y="686"/>
                  </a:cubicBezTo>
                  <a:cubicBezTo>
                    <a:pt x="304" y="686"/>
                    <a:pt x="301" y="677"/>
                    <a:pt x="304" y="675"/>
                  </a:cubicBezTo>
                  <a:cubicBezTo>
                    <a:pt x="307" y="673"/>
                    <a:pt x="309" y="678"/>
                    <a:pt x="309" y="678"/>
                  </a:cubicBezTo>
                  <a:cubicBezTo>
                    <a:pt x="318" y="673"/>
                    <a:pt x="318" y="673"/>
                    <a:pt x="318" y="673"/>
                  </a:cubicBezTo>
                  <a:cubicBezTo>
                    <a:pt x="318" y="673"/>
                    <a:pt x="318" y="667"/>
                    <a:pt x="322" y="667"/>
                  </a:cubicBezTo>
                  <a:cubicBezTo>
                    <a:pt x="326" y="667"/>
                    <a:pt x="326" y="669"/>
                    <a:pt x="326" y="669"/>
                  </a:cubicBezTo>
                  <a:cubicBezTo>
                    <a:pt x="332" y="668"/>
                    <a:pt x="332" y="668"/>
                    <a:pt x="332" y="668"/>
                  </a:cubicBezTo>
                  <a:cubicBezTo>
                    <a:pt x="332" y="668"/>
                    <a:pt x="333" y="674"/>
                    <a:pt x="337" y="675"/>
                  </a:cubicBezTo>
                  <a:cubicBezTo>
                    <a:pt x="340" y="675"/>
                    <a:pt x="345" y="672"/>
                    <a:pt x="345" y="675"/>
                  </a:cubicBezTo>
                  <a:cubicBezTo>
                    <a:pt x="345" y="679"/>
                    <a:pt x="337" y="681"/>
                    <a:pt x="337" y="681"/>
                  </a:cubicBezTo>
                  <a:cubicBezTo>
                    <a:pt x="338" y="686"/>
                    <a:pt x="338" y="686"/>
                    <a:pt x="338" y="686"/>
                  </a:cubicBezTo>
                  <a:cubicBezTo>
                    <a:pt x="341" y="684"/>
                    <a:pt x="341" y="684"/>
                    <a:pt x="341" y="684"/>
                  </a:cubicBezTo>
                  <a:cubicBezTo>
                    <a:pt x="342" y="691"/>
                    <a:pt x="342" y="691"/>
                    <a:pt x="342" y="691"/>
                  </a:cubicBezTo>
                  <a:cubicBezTo>
                    <a:pt x="352" y="693"/>
                    <a:pt x="352" y="693"/>
                    <a:pt x="352" y="693"/>
                  </a:cubicBezTo>
                  <a:cubicBezTo>
                    <a:pt x="352" y="696"/>
                    <a:pt x="352" y="696"/>
                    <a:pt x="352" y="696"/>
                  </a:cubicBezTo>
                  <a:cubicBezTo>
                    <a:pt x="346" y="696"/>
                    <a:pt x="346" y="696"/>
                    <a:pt x="346" y="696"/>
                  </a:cubicBezTo>
                  <a:cubicBezTo>
                    <a:pt x="348" y="703"/>
                    <a:pt x="348" y="703"/>
                    <a:pt x="348" y="703"/>
                  </a:cubicBezTo>
                  <a:cubicBezTo>
                    <a:pt x="357" y="699"/>
                    <a:pt x="357" y="699"/>
                    <a:pt x="357" y="699"/>
                  </a:cubicBezTo>
                  <a:cubicBezTo>
                    <a:pt x="357" y="699"/>
                    <a:pt x="357" y="706"/>
                    <a:pt x="359" y="708"/>
                  </a:cubicBezTo>
                  <a:cubicBezTo>
                    <a:pt x="361" y="710"/>
                    <a:pt x="364" y="715"/>
                    <a:pt x="363" y="722"/>
                  </a:cubicBezTo>
                  <a:cubicBezTo>
                    <a:pt x="363" y="728"/>
                    <a:pt x="361" y="731"/>
                    <a:pt x="361" y="738"/>
                  </a:cubicBezTo>
                  <a:cubicBezTo>
                    <a:pt x="361" y="743"/>
                    <a:pt x="367" y="750"/>
                    <a:pt x="367" y="750"/>
                  </a:cubicBezTo>
                  <a:cubicBezTo>
                    <a:pt x="391" y="746"/>
                    <a:pt x="391" y="746"/>
                    <a:pt x="391" y="746"/>
                  </a:cubicBezTo>
                  <a:cubicBezTo>
                    <a:pt x="391" y="746"/>
                    <a:pt x="388" y="757"/>
                    <a:pt x="381" y="758"/>
                  </a:cubicBezTo>
                  <a:cubicBezTo>
                    <a:pt x="374" y="760"/>
                    <a:pt x="366" y="759"/>
                    <a:pt x="362" y="762"/>
                  </a:cubicBezTo>
                  <a:cubicBezTo>
                    <a:pt x="358" y="766"/>
                    <a:pt x="350" y="774"/>
                    <a:pt x="346" y="776"/>
                  </a:cubicBezTo>
                  <a:cubicBezTo>
                    <a:pt x="342" y="778"/>
                    <a:pt x="331" y="779"/>
                    <a:pt x="331" y="779"/>
                  </a:cubicBezTo>
                  <a:cubicBezTo>
                    <a:pt x="330" y="789"/>
                    <a:pt x="330" y="789"/>
                    <a:pt x="330" y="789"/>
                  </a:cubicBezTo>
                  <a:cubicBezTo>
                    <a:pt x="323" y="791"/>
                    <a:pt x="323" y="791"/>
                    <a:pt x="323" y="791"/>
                  </a:cubicBezTo>
                  <a:cubicBezTo>
                    <a:pt x="323" y="791"/>
                    <a:pt x="321" y="800"/>
                    <a:pt x="321" y="804"/>
                  </a:cubicBezTo>
                  <a:cubicBezTo>
                    <a:pt x="321" y="808"/>
                    <a:pt x="326" y="813"/>
                    <a:pt x="326" y="813"/>
                  </a:cubicBezTo>
                  <a:cubicBezTo>
                    <a:pt x="326" y="813"/>
                    <a:pt x="323" y="813"/>
                    <a:pt x="321" y="815"/>
                  </a:cubicBezTo>
                  <a:cubicBezTo>
                    <a:pt x="318" y="817"/>
                    <a:pt x="317" y="821"/>
                    <a:pt x="317" y="821"/>
                  </a:cubicBezTo>
                  <a:cubicBezTo>
                    <a:pt x="313" y="824"/>
                    <a:pt x="313" y="824"/>
                    <a:pt x="313" y="824"/>
                  </a:cubicBezTo>
                  <a:cubicBezTo>
                    <a:pt x="314" y="828"/>
                    <a:pt x="314" y="828"/>
                    <a:pt x="314" y="828"/>
                  </a:cubicBezTo>
                  <a:cubicBezTo>
                    <a:pt x="322" y="826"/>
                    <a:pt x="322" y="826"/>
                    <a:pt x="322" y="826"/>
                  </a:cubicBezTo>
                  <a:cubicBezTo>
                    <a:pt x="321" y="832"/>
                    <a:pt x="321" y="832"/>
                    <a:pt x="321" y="832"/>
                  </a:cubicBezTo>
                  <a:cubicBezTo>
                    <a:pt x="327" y="830"/>
                    <a:pt x="327" y="830"/>
                    <a:pt x="327" y="830"/>
                  </a:cubicBezTo>
                  <a:cubicBezTo>
                    <a:pt x="328" y="832"/>
                    <a:pt x="328" y="832"/>
                    <a:pt x="328" y="832"/>
                  </a:cubicBezTo>
                  <a:cubicBezTo>
                    <a:pt x="337" y="832"/>
                    <a:pt x="337" y="832"/>
                    <a:pt x="337" y="832"/>
                  </a:cubicBezTo>
                  <a:cubicBezTo>
                    <a:pt x="337" y="832"/>
                    <a:pt x="339" y="836"/>
                    <a:pt x="342" y="836"/>
                  </a:cubicBezTo>
                  <a:cubicBezTo>
                    <a:pt x="346" y="835"/>
                    <a:pt x="349" y="830"/>
                    <a:pt x="352" y="833"/>
                  </a:cubicBezTo>
                  <a:cubicBezTo>
                    <a:pt x="355" y="837"/>
                    <a:pt x="345" y="840"/>
                    <a:pt x="345" y="840"/>
                  </a:cubicBezTo>
                  <a:cubicBezTo>
                    <a:pt x="345" y="840"/>
                    <a:pt x="344" y="850"/>
                    <a:pt x="340" y="849"/>
                  </a:cubicBezTo>
                  <a:cubicBezTo>
                    <a:pt x="336" y="848"/>
                    <a:pt x="323" y="847"/>
                    <a:pt x="323" y="847"/>
                  </a:cubicBezTo>
                  <a:cubicBezTo>
                    <a:pt x="323" y="847"/>
                    <a:pt x="316" y="853"/>
                    <a:pt x="312" y="854"/>
                  </a:cubicBezTo>
                  <a:cubicBezTo>
                    <a:pt x="309" y="855"/>
                    <a:pt x="297" y="856"/>
                    <a:pt x="301" y="869"/>
                  </a:cubicBezTo>
                  <a:cubicBezTo>
                    <a:pt x="306" y="881"/>
                    <a:pt x="314" y="879"/>
                    <a:pt x="321" y="876"/>
                  </a:cubicBezTo>
                  <a:cubicBezTo>
                    <a:pt x="328" y="873"/>
                    <a:pt x="336" y="869"/>
                    <a:pt x="341" y="876"/>
                  </a:cubicBezTo>
                  <a:cubicBezTo>
                    <a:pt x="346" y="881"/>
                    <a:pt x="363" y="897"/>
                    <a:pt x="367" y="896"/>
                  </a:cubicBezTo>
                  <a:cubicBezTo>
                    <a:pt x="373" y="896"/>
                    <a:pt x="378" y="894"/>
                    <a:pt x="385" y="903"/>
                  </a:cubicBezTo>
                  <a:cubicBezTo>
                    <a:pt x="391" y="912"/>
                    <a:pt x="390" y="921"/>
                    <a:pt x="390" y="921"/>
                  </a:cubicBezTo>
                  <a:cubicBezTo>
                    <a:pt x="393" y="921"/>
                    <a:pt x="393" y="921"/>
                    <a:pt x="393" y="921"/>
                  </a:cubicBezTo>
                  <a:cubicBezTo>
                    <a:pt x="397" y="915"/>
                    <a:pt x="397" y="915"/>
                    <a:pt x="397" y="915"/>
                  </a:cubicBezTo>
                  <a:cubicBezTo>
                    <a:pt x="402" y="915"/>
                    <a:pt x="402" y="915"/>
                    <a:pt x="402" y="915"/>
                  </a:cubicBezTo>
                  <a:cubicBezTo>
                    <a:pt x="402" y="915"/>
                    <a:pt x="402" y="911"/>
                    <a:pt x="406" y="910"/>
                  </a:cubicBezTo>
                  <a:cubicBezTo>
                    <a:pt x="408" y="910"/>
                    <a:pt x="408" y="910"/>
                    <a:pt x="408" y="910"/>
                  </a:cubicBezTo>
                  <a:cubicBezTo>
                    <a:pt x="408" y="310"/>
                    <a:pt x="408" y="310"/>
                    <a:pt x="408" y="310"/>
                  </a:cubicBezTo>
                  <a:cubicBezTo>
                    <a:pt x="399" y="314"/>
                    <a:pt x="387" y="321"/>
                    <a:pt x="379" y="3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aphicFrame>
        <p:nvGraphicFramePr>
          <p:cNvPr id="68" name="Table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198546"/>
              </p:ext>
            </p:extLst>
          </p:nvPr>
        </p:nvGraphicFramePr>
        <p:xfrm>
          <a:off x="7330433" y="1253058"/>
          <a:ext cx="1689538" cy="5455091"/>
        </p:xfrm>
        <a:graphic>
          <a:graphicData uri="http://schemas.openxmlformats.org/drawingml/2006/table">
            <a:tbl>
              <a:tblPr>
                <a:noFill/>
                <a:effectLst/>
              </a:tblPr>
              <a:tblGrid>
                <a:gridCol w="331736"/>
                <a:gridCol w="674836"/>
                <a:gridCol w="682966"/>
              </a:tblGrid>
              <a:tr h="31051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questing</a:t>
                      </a:r>
                      <a:endParaRPr lang="en-GB" sz="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 smtClean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Requested</a:t>
                      </a:r>
                      <a:endParaRPr lang="en-GB" sz="900" b="1" i="0" u="none" strike="noStrike" dirty="0">
                        <a:solidFill>
                          <a:srgbClr val="4964ED"/>
                        </a:solidFill>
                        <a:effectLst/>
                        <a:latin typeface="+mn-lt"/>
                      </a:endParaRP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2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G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Z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7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K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22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E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23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7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9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V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T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R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U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T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L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8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9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0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T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7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2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  <a:tr h="1837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K</a:t>
                      </a:r>
                    </a:p>
                  </a:txBody>
                  <a:tcPr marL="8675" marR="8675" marT="867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4964ED"/>
                          </a:solidFill>
                          <a:effectLst/>
                          <a:latin typeface="+mn-lt"/>
                        </a:rPr>
                        <a:t>18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97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69" name="Group 68"/>
          <p:cNvGrpSpPr/>
          <p:nvPr/>
        </p:nvGrpSpPr>
        <p:grpSpPr>
          <a:xfrm>
            <a:off x="230128" y="1317372"/>
            <a:ext cx="5405430" cy="5360820"/>
            <a:chOff x="230128" y="1317372"/>
            <a:chExt cx="5405430" cy="5360820"/>
          </a:xfrm>
        </p:grpSpPr>
        <p:sp>
          <p:nvSpPr>
            <p:cNvPr id="70" name="Text Box 59" descr="© INSCALE GmbH, 05.05.2010&#10;http://www.presentationload.com/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087338" y="4428867"/>
              <a:ext cx="497971" cy="245123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80/</a:t>
              </a:r>
              <a:r>
                <a:rPr lang="en-US" dirty="0">
                  <a:solidFill>
                    <a:srgbClr val="4964ED"/>
                  </a:solidFill>
                </a:rPr>
                <a:t>172</a:t>
              </a:r>
            </a:p>
          </p:txBody>
        </p:sp>
        <p:sp>
          <p:nvSpPr>
            <p:cNvPr id="71" name="Text Box 62" descr="© INSCALE GmbH, 05.05.2010&#10;http://www.presentationload.com/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293299" y="5617179"/>
              <a:ext cx="446700" cy="19577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59/</a:t>
              </a:r>
              <a:r>
                <a:rPr lang="en-US" dirty="0">
                  <a:solidFill>
                    <a:srgbClr val="4964ED"/>
                  </a:solidFill>
                </a:rPr>
                <a:t>237</a:t>
              </a:r>
            </a:p>
          </p:txBody>
        </p:sp>
        <p:sp>
          <p:nvSpPr>
            <p:cNvPr id="72" name="Text Box 66" descr="© INSCALE GmbH, 05.05.2010&#10;http://www.presentationload.com/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164682" y="3586869"/>
              <a:ext cx="560145" cy="253863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53/</a:t>
              </a:r>
              <a:r>
                <a:rPr lang="en-US" dirty="0">
                  <a:solidFill>
                    <a:srgbClr val="4964ED"/>
                  </a:solidFill>
                </a:rPr>
                <a:t>222</a:t>
              </a:r>
            </a:p>
          </p:txBody>
        </p:sp>
        <p:sp>
          <p:nvSpPr>
            <p:cNvPr id="73" name="Text Box 67" descr="© INSCALE GmbH, 05.05.2010&#10;http://www.presentationload.com/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929876" y="5704054"/>
              <a:ext cx="377691" cy="197014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33/</a:t>
              </a:r>
              <a:r>
                <a:rPr lang="en-US" dirty="0">
                  <a:solidFill>
                    <a:srgbClr val="4964ED"/>
                  </a:solidFill>
                </a:rPr>
                <a:t>64</a:t>
              </a:r>
            </a:p>
          </p:txBody>
        </p:sp>
        <p:sp>
          <p:nvSpPr>
            <p:cNvPr id="74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397966" y="4407566"/>
              <a:ext cx="352291" cy="2179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67/</a:t>
              </a:r>
              <a:r>
                <a:rPr lang="en-US" dirty="0">
                  <a:solidFill>
                    <a:srgbClr val="4964ED"/>
                  </a:solidFill>
                </a:rPr>
                <a:t>86</a:t>
              </a:r>
            </a:p>
          </p:txBody>
        </p:sp>
        <p:sp>
          <p:nvSpPr>
            <p:cNvPr id="75" name="Text Box 70" descr="© INSCALE GmbH, 05.05.2010&#10;http://www.presentationload.com/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161316" y="4869096"/>
              <a:ext cx="507400" cy="209473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101/</a:t>
              </a:r>
              <a:r>
                <a:rPr lang="en-US" dirty="0">
                  <a:solidFill>
                    <a:srgbClr val="4964ED"/>
                  </a:solidFill>
                </a:rPr>
                <a:t>194</a:t>
              </a:r>
            </a:p>
          </p:txBody>
        </p:sp>
        <p:sp>
          <p:nvSpPr>
            <p:cNvPr id="76" name="Text Box 71" descr="© INSCALE GmbH, 05.05.2010&#10;http://www.presentationload.com/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40009" y="3432438"/>
              <a:ext cx="494658" cy="222084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97/</a:t>
              </a:r>
              <a:r>
                <a:rPr lang="en-US" dirty="0">
                  <a:solidFill>
                    <a:srgbClr val="4964ED"/>
                  </a:solidFill>
                </a:rPr>
                <a:t>186</a:t>
              </a:r>
            </a:p>
          </p:txBody>
        </p:sp>
        <p:sp>
          <p:nvSpPr>
            <p:cNvPr id="77" name="Text Box 74" descr="© INSCALE GmbH, 05.05.2010&#10;http://www.presentationload.com/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12309" y="4431716"/>
              <a:ext cx="436374" cy="250587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65/</a:t>
              </a:r>
              <a:r>
                <a:rPr lang="en-US" dirty="0">
                  <a:solidFill>
                    <a:srgbClr val="4964ED"/>
                  </a:solidFill>
                </a:rPr>
                <a:t>121</a:t>
              </a:r>
            </a:p>
          </p:txBody>
        </p:sp>
        <p:sp>
          <p:nvSpPr>
            <p:cNvPr id="78" name="Text Box 75" descr="© INSCALE GmbH, 05.05.2010&#10;http://www.presentationload.com/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230495" y="5138333"/>
              <a:ext cx="405063" cy="240718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70/</a:t>
              </a:r>
              <a:r>
                <a:rPr lang="en-US" dirty="0">
                  <a:solidFill>
                    <a:srgbClr val="4964ED"/>
                  </a:solidFill>
                </a:rPr>
                <a:t>63</a:t>
              </a:r>
            </a:p>
          </p:txBody>
        </p:sp>
        <p:sp>
          <p:nvSpPr>
            <p:cNvPr id="79" name="Text Box 62" descr="© INSCALE GmbH, 05.05.2010&#10;http://www.presentationload.com/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92792" y="5566310"/>
              <a:ext cx="386315" cy="182382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89/</a:t>
              </a:r>
              <a:r>
                <a:rPr lang="en-US" dirty="0">
                  <a:solidFill>
                    <a:srgbClr val="4964ED"/>
                  </a:solidFill>
                </a:rPr>
                <a:t>71</a:t>
              </a:r>
            </a:p>
          </p:txBody>
        </p:sp>
        <p:sp>
          <p:nvSpPr>
            <p:cNvPr id="80" name="Text Box 62" descr="© INSCALE GmbH, 05.05.2010&#10;http://www.presentationload.com/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05101" y="3058093"/>
              <a:ext cx="386315" cy="242110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25/</a:t>
              </a:r>
              <a:r>
                <a:rPr lang="en-US" dirty="0">
                  <a:solidFill>
                    <a:srgbClr val="4964ED"/>
                  </a:solidFill>
                </a:rPr>
                <a:t>45</a:t>
              </a:r>
            </a:p>
          </p:txBody>
        </p:sp>
        <p:sp>
          <p:nvSpPr>
            <p:cNvPr id="81" name="Text Box 70" descr="© INSCALE GmbH, 05.05.2010&#10;http://www.presentationload.com/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202792" y="6381194"/>
              <a:ext cx="347510" cy="19849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27/</a:t>
              </a:r>
              <a:r>
                <a:rPr lang="en-US" dirty="0">
                  <a:solidFill>
                    <a:srgbClr val="4964ED"/>
                  </a:solidFill>
                </a:rPr>
                <a:t>33</a:t>
              </a:r>
            </a:p>
          </p:txBody>
        </p:sp>
        <p:sp>
          <p:nvSpPr>
            <p:cNvPr id="82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326436" y="4076861"/>
              <a:ext cx="327088" cy="227053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24/</a:t>
              </a:r>
              <a:r>
                <a:rPr lang="en-US" dirty="0">
                  <a:solidFill>
                    <a:srgbClr val="4964ED"/>
                  </a:solidFill>
                </a:rPr>
                <a:t>77</a:t>
              </a:r>
            </a:p>
          </p:txBody>
        </p:sp>
        <p:sp>
          <p:nvSpPr>
            <p:cNvPr id="83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371427" y="5824412"/>
              <a:ext cx="357253" cy="193652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91/</a:t>
              </a:r>
              <a:r>
                <a:rPr lang="en-US" dirty="0">
                  <a:solidFill>
                    <a:srgbClr val="4964ED"/>
                  </a:solidFill>
                </a:rPr>
                <a:t>44</a:t>
              </a:r>
            </a:p>
          </p:txBody>
        </p:sp>
        <p:cxnSp>
          <p:nvCxnSpPr>
            <p:cNvPr id="84" name="Elbow Connector 83"/>
            <p:cNvCxnSpPr>
              <a:endCxn id="83" idx="0"/>
            </p:cNvCxnSpPr>
            <p:nvPr/>
          </p:nvCxnSpPr>
          <p:spPr>
            <a:xfrm rot="5400000">
              <a:off x="3113336" y="5150371"/>
              <a:ext cx="1110760" cy="237323"/>
            </a:xfrm>
            <a:prstGeom prst="bentConnector3">
              <a:avLst>
                <a:gd name="adj1" fmla="val 50000"/>
              </a:avLst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85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769760" y="4342215"/>
              <a:ext cx="352291" cy="2179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94/</a:t>
              </a:r>
              <a:r>
                <a:rPr lang="en-US" dirty="0">
                  <a:solidFill>
                    <a:srgbClr val="4964ED"/>
                  </a:solidFill>
                </a:rPr>
                <a:t>99</a:t>
              </a:r>
            </a:p>
          </p:txBody>
        </p:sp>
        <p:sp>
          <p:nvSpPr>
            <p:cNvPr id="86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864560" y="3921149"/>
              <a:ext cx="352291" cy="2179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76/</a:t>
              </a:r>
              <a:r>
                <a:rPr lang="en-US" dirty="0">
                  <a:solidFill>
                    <a:srgbClr val="4964ED"/>
                  </a:solidFill>
                </a:rPr>
                <a:t>71</a:t>
              </a:r>
            </a:p>
          </p:txBody>
        </p:sp>
        <p:sp>
          <p:nvSpPr>
            <p:cNvPr id="87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171161" y="3375720"/>
              <a:ext cx="441289" cy="2179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90/</a:t>
              </a:r>
              <a:r>
                <a:rPr lang="en-US" dirty="0">
                  <a:solidFill>
                    <a:srgbClr val="4964ED"/>
                  </a:solidFill>
                </a:rPr>
                <a:t>101</a:t>
              </a:r>
            </a:p>
          </p:txBody>
        </p:sp>
        <p:sp>
          <p:nvSpPr>
            <p:cNvPr id="88" name="Text Box 70" descr="© INSCALE GmbH, 05.05.2010&#10;http://www.presentationload.com/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556671" y="3003447"/>
              <a:ext cx="399319" cy="1835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36/</a:t>
              </a:r>
              <a:r>
                <a:rPr lang="en-US" dirty="0">
                  <a:solidFill>
                    <a:srgbClr val="4964ED"/>
                  </a:solidFill>
                </a:rPr>
                <a:t>52</a:t>
              </a:r>
            </a:p>
          </p:txBody>
        </p:sp>
        <p:cxnSp>
          <p:nvCxnSpPr>
            <p:cNvPr id="89" name="Elbow Connector 88"/>
            <p:cNvCxnSpPr>
              <a:endCxn id="88" idx="3"/>
            </p:cNvCxnSpPr>
            <p:nvPr/>
          </p:nvCxnSpPr>
          <p:spPr>
            <a:xfrm rot="5400000" flipH="1" flipV="1">
              <a:off x="2468464" y="3504236"/>
              <a:ext cx="896563" cy="78489"/>
            </a:xfrm>
            <a:prstGeom prst="bentConnector4">
              <a:avLst>
                <a:gd name="adj1" fmla="val 44883"/>
                <a:gd name="adj2" fmla="val 391251"/>
              </a:avLst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90" name="Text Box 70" descr="© INSCALE GmbH, 05.05.2010&#10;http://www.presentationload.com/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536240" y="3375720"/>
              <a:ext cx="399319" cy="1835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42/</a:t>
              </a:r>
              <a:r>
                <a:rPr lang="en-US" dirty="0">
                  <a:solidFill>
                    <a:srgbClr val="4964ED"/>
                  </a:solidFill>
                </a:rPr>
                <a:t>188</a:t>
              </a:r>
            </a:p>
          </p:txBody>
        </p:sp>
        <p:sp>
          <p:nvSpPr>
            <p:cNvPr id="91" name="Text Box 70" descr="© INSCALE GmbH, 05.05.2010&#10;http://www.presentationload.com/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99549" y="3695875"/>
              <a:ext cx="399319" cy="1835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53/</a:t>
              </a:r>
              <a:r>
                <a:rPr lang="en-US" dirty="0">
                  <a:solidFill>
                    <a:srgbClr val="4964ED"/>
                  </a:solidFill>
                </a:rPr>
                <a:t>123</a:t>
              </a:r>
            </a:p>
          </p:txBody>
        </p:sp>
        <p:sp>
          <p:nvSpPr>
            <p:cNvPr id="92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587610" y="2734575"/>
              <a:ext cx="390352" cy="205876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38/</a:t>
              </a:r>
              <a:r>
                <a:rPr lang="en-US" dirty="0">
                  <a:solidFill>
                    <a:srgbClr val="4964ED"/>
                  </a:solidFill>
                </a:rPr>
                <a:t>43</a:t>
              </a:r>
            </a:p>
          </p:txBody>
        </p:sp>
        <p:sp>
          <p:nvSpPr>
            <p:cNvPr id="93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747317" y="2444341"/>
              <a:ext cx="440249" cy="200975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41/</a:t>
              </a:r>
              <a:r>
                <a:rPr lang="en-US" dirty="0">
                  <a:solidFill>
                    <a:srgbClr val="4964ED"/>
                  </a:solidFill>
                </a:rPr>
                <a:t>48</a:t>
              </a:r>
            </a:p>
          </p:txBody>
        </p:sp>
        <p:sp>
          <p:nvSpPr>
            <p:cNvPr id="94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710829" y="2097781"/>
              <a:ext cx="390126" cy="217902"/>
            </a:xfrm>
            <a:prstGeom prst="roundRect">
              <a:avLst>
                <a:gd name="adj" fmla="val 28417"/>
              </a:avLst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40/</a:t>
              </a:r>
              <a:r>
                <a:rPr lang="en-US" dirty="0">
                  <a:solidFill>
                    <a:srgbClr val="4964ED"/>
                  </a:solidFill>
                </a:rPr>
                <a:t>40</a:t>
              </a:r>
            </a:p>
          </p:txBody>
        </p:sp>
        <p:sp>
          <p:nvSpPr>
            <p:cNvPr id="95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3688414" y="2427254"/>
              <a:ext cx="352291" cy="2179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72/</a:t>
              </a:r>
              <a:r>
                <a:rPr lang="en-US" dirty="0">
                  <a:solidFill>
                    <a:srgbClr val="4964ED"/>
                  </a:solidFill>
                </a:rPr>
                <a:t>63</a:t>
              </a:r>
            </a:p>
          </p:txBody>
        </p:sp>
        <p:sp>
          <p:nvSpPr>
            <p:cNvPr id="96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625671" y="1664915"/>
              <a:ext cx="352291" cy="217901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41/</a:t>
              </a:r>
              <a:r>
                <a:rPr lang="en-US" dirty="0">
                  <a:solidFill>
                    <a:srgbClr val="4964ED"/>
                  </a:solidFill>
                </a:rPr>
                <a:t>44</a:t>
              </a:r>
            </a:p>
          </p:txBody>
        </p:sp>
        <p:sp>
          <p:nvSpPr>
            <p:cNvPr id="97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165434" y="6423977"/>
              <a:ext cx="296029" cy="169834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9/</a:t>
              </a:r>
              <a:r>
                <a:rPr lang="en-US" dirty="0">
                  <a:solidFill>
                    <a:srgbClr val="4964ED"/>
                  </a:solidFill>
                </a:rPr>
                <a:t>33</a:t>
              </a:r>
            </a:p>
          </p:txBody>
        </p:sp>
        <p:sp>
          <p:nvSpPr>
            <p:cNvPr id="98" name="Text Box 68" descr="© INSCALE GmbH, 05.05.2010&#10;http://www.presentationload.com/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798868" y="2622194"/>
              <a:ext cx="403923" cy="215319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42/</a:t>
              </a:r>
              <a:r>
                <a:rPr lang="en-US" dirty="0">
                  <a:solidFill>
                    <a:srgbClr val="4964ED"/>
                  </a:solidFill>
                </a:rPr>
                <a:t>57</a:t>
              </a:r>
            </a:p>
          </p:txBody>
        </p:sp>
        <p:sp>
          <p:nvSpPr>
            <p:cNvPr id="99" name="Text Box 67" descr="© INSCALE GmbH, 05.05.2010&#10;http://www.presentationload.com/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809875" y="6481178"/>
              <a:ext cx="377691" cy="197014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17/</a:t>
              </a:r>
              <a:r>
                <a:rPr lang="en-US" dirty="0">
                  <a:solidFill>
                    <a:srgbClr val="4964ED"/>
                  </a:solidFill>
                </a:rPr>
                <a:t>76</a:t>
              </a:r>
            </a:p>
          </p:txBody>
        </p:sp>
        <p:sp>
          <p:nvSpPr>
            <p:cNvPr id="100" name="Text Box 62" descr="© INSCALE GmbH, 05.05.2010&#10;http://www.presentationload.com/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30128" y="1317372"/>
              <a:ext cx="1286521" cy="400284"/>
            </a:xfrm>
            <a:prstGeom prst="round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0800" bIns="10800" anchor="ctr"/>
            <a:lstStyle>
              <a:defPPr>
                <a:defRPr lang="en-US"/>
              </a:defPPr>
              <a:lvl1pPr algn="ctr">
                <a:spcBef>
                  <a:spcPct val="0"/>
                </a:spcBef>
                <a:defRPr sz="900" b="1"/>
              </a:lvl1pPr>
            </a:lstStyle>
            <a:p>
              <a:r>
                <a:rPr lang="en-US" dirty="0"/>
                <a:t>Requesting/ </a:t>
              </a:r>
              <a:r>
                <a:rPr lang="en-US" dirty="0">
                  <a:solidFill>
                    <a:srgbClr val="4964ED"/>
                  </a:solidFill>
                </a:rPr>
                <a:t>Requested</a:t>
              </a:r>
            </a:p>
          </p:txBody>
        </p:sp>
        <p:cxnSp>
          <p:nvCxnSpPr>
            <p:cNvPr id="101" name="Elbow Connector 100"/>
            <p:cNvCxnSpPr>
              <a:endCxn id="81" idx="3"/>
            </p:cNvCxnSpPr>
            <p:nvPr/>
          </p:nvCxnSpPr>
          <p:spPr>
            <a:xfrm rot="10800000">
              <a:off x="3550302" y="6480440"/>
              <a:ext cx="337330" cy="124168"/>
            </a:xfrm>
            <a:prstGeom prst="bentConnector3">
              <a:avLst>
                <a:gd name="adj1" fmla="val 50000"/>
              </a:avLst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02" name="Straight Connector 101"/>
            <p:cNvCxnSpPr>
              <a:endCxn id="99" idx="3"/>
            </p:cNvCxnSpPr>
            <p:nvPr/>
          </p:nvCxnSpPr>
          <p:spPr>
            <a:xfrm flipH="1">
              <a:off x="5187566" y="6489070"/>
              <a:ext cx="154628" cy="90615"/>
            </a:xfrm>
            <a:prstGeom prst="line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03" name="Elbow Connector 102"/>
            <p:cNvCxnSpPr>
              <a:endCxn id="97" idx="0"/>
            </p:cNvCxnSpPr>
            <p:nvPr/>
          </p:nvCxnSpPr>
          <p:spPr>
            <a:xfrm rot="16200000" flipH="1">
              <a:off x="3442181" y="5552708"/>
              <a:ext cx="1456461" cy="286076"/>
            </a:xfrm>
            <a:prstGeom prst="bentConnector3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cxnSp>
        <p:nvCxnSpPr>
          <p:cNvPr id="104" name="Elbow Connector 103"/>
          <p:cNvCxnSpPr/>
          <p:nvPr/>
        </p:nvCxnSpPr>
        <p:spPr>
          <a:xfrm rot="5400000">
            <a:off x="3221135" y="5090821"/>
            <a:ext cx="1079763" cy="405014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/>
          <p:nvPr/>
        </p:nvCxnSpPr>
        <p:spPr>
          <a:xfrm rot="5400000" flipH="1" flipV="1">
            <a:off x="2488540" y="3552720"/>
            <a:ext cx="934901" cy="19858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/>
          <p:nvPr/>
        </p:nvCxnSpPr>
        <p:spPr>
          <a:xfrm rot="10800000">
            <a:off x="3558756" y="6489237"/>
            <a:ext cx="494934" cy="177948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 flipH="1">
            <a:off x="5196020" y="6554087"/>
            <a:ext cx="314142" cy="343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/>
          <p:nvPr/>
        </p:nvCxnSpPr>
        <p:spPr>
          <a:xfrm rot="16200000" flipH="1">
            <a:off x="3480531" y="5591400"/>
            <a:ext cx="1465256" cy="217489"/>
          </a:xfrm>
          <a:prstGeom prst="bentConnector3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6896739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sz="3600" dirty="0" err="1"/>
              <a:t>P</a:t>
            </a:r>
            <a:r>
              <a:rPr lang="pt-PT" sz="3600" dirty="0" err="1" smtClean="0"/>
              <a:t>riority</a:t>
            </a:r>
            <a:r>
              <a:rPr lang="pt-PT" sz="3600" dirty="0" smtClean="0"/>
              <a:t> crime </a:t>
            </a:r>
            <a:r>
              <a:rPr lang="pt-PT" sz="3600" dirty="0" err="1" smtClean="0"/>
              <a:t>types</a:t>
            </a:r>
            <a:r>
              <a:rPr lang="pt-PT" sz="3600" dirty="0" smtClean="0"/>
              <a:t> 2013</a:t>
            </a:r>
            <a:endParaRPr lang="en-GB" sz="3600" dirty="0"/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Brush/>
                    </a14:imgEffect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129158"/>
            <a:ext cx="8069336" cy="5710849"/>
          </a:xfrm>
          <a:prstGeom prst="rect">
            <a:avLst/>
          </a:prstGeom>
        </p:spPr>
      </p:pic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7862962"/>
              </p:ext>
            </p:extLst>
          </p:nvPr>
        </p:nvGraphicFramePr>
        <p:xfrm>
          <a:off x="457201" y="1435398"/>
          <a:ext cx="7477124" cy="4403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8667624"/>
              </p:ext>
            </p:extLst>
          </p:nvPr>
        </p:nvGraphicFramePr>
        <p:xfrm>
          <a:off x="595312" y="1385887"/>
          <a:ext cx="6510337" cy="464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2182051"/>
              </p:ext>
            </p:extLst>
          </p:nvPr>
        </p:nvGraphicFramePr>
        <p:xfrm>
          <a:off x="619125" y="1014412"/>
          <a:ext cx="6486524" cy="4119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655857"/>
              </p:ext>
            </p:extLst>
          </p:nvPr>
        </p:nvGraphicFramePr>
        <p:xfrm>
          <a:off x="2752725" y="5276850"/>
          <a:ext cx="5667375" cy="1352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1625"/>
                <a:gridCol w="514350"/>
                <a:gridCol w="3057525"/>
                <a:gridCol w="523875"/>
              </a:tblGrid>
              <a:tr h="20955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ime types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 cases</a:t>
                      </a:r>
                      <a:endParaRPr lang="en-GB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ther priority crimes</a:t>
                      </a:r>
                      <a:endParaRPr lang="en-GB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 cases</a:t>
                      </a:r>
                      <a:endParaRPr lang="en-GB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Non priority crime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59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Corrupt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7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5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Swindling and frau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  <a:latin typeface="+mn-lt"/>
                        </a:rPr>
                        <a:t>47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Cybercrim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7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(Mobile) Organised crim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264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Forgery of money and means of pay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7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  <a:latin typeface="+mn-lt"/>
                        </a:rPr>
                        <a:t>Drug trafficking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248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Terroris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7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17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  <a:latin typeface="+mn-lt"/>
                        </a:rPr>
                        <a:t>Money-laundering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20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Criminal offences affecting the EU's financial interest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7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  <a:latin typeface="+mn-lt"/>
                        </a:rPr>
                        <a:t>Illegal Immigration &amp; THB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1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Cigarette smuggling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7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  <a:latin typeface="+mn-lt"/>
                        </a:rPr>
                        <a:t>14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7860608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H" sz="3600" dirty="0" smtClean="0"/>
              <a:t>Eurojust &amp;Joint Investigation Teams 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buNone/>
            </a:pPr>
            <a:endParaRPr lang="en-US" b="1" i="1" dirty="0">
              <a:solidFill>
                <a:srgbClr val="FF0000"/>
              </a:solidFill>
            </a:endParaRPr>
          </a:p>
          <a:p>
            <a:pPr>
              <a:buNone/>
            </a:pPr>
            <a:r>
              <a:rPr lang="en-US" sz="3600" b="1" dirty="0" smtClean="0">
                <a:solidFill>
                  <a:srgbClr val="FF0000"/>
                </a:solidFill>
              </a:rPr>
              <a:t>JIT</a:t>
            </a:r>
            <a:r>
              <a:rPr lang="en-US" b="1" dirty="0" smtClean="0">
                <a:solidFill>
                  <a:srgbClr val="FF0000"/>
                </a:solidFill>
              </a:rPr>
              <a:t>: </a:t>
            </a:r>
            <a:r>
              <a:rPr lang="en-US" i="1" dirty="0" smtClean="0">
                <a:solidFill>
                  <a:srgbClr val="003399"/>
                </a:solidFill>
              </a:rPr>
              <a:t>set up on the basis of a written agreement between two or more Member States and / or other parties, including third States, for a specific purpose and limited duration. </a:t>
            </a:r>
          </a:p>
          <a:p>
            <a:pPr>
              <a:buNone/>
            </a:pPr>
            <a:endParaRPr lang="en-US" b="1" i="1" dirty="0">
              <a:solidFill>
                <a:srgbClr val="FF0000"/>
              </a:solidFill>
            </a:endParaRPr>
          </a:p>
          <a:p>
            <a:pPr>
              <a:buNone/>
            </a:pPr>
            <a:r>
              <a:rPr lang="en-US" sz="3600" b="1" dirty="0" smtClean="0">
                <a:solidFill>
                  <a:srgbClr val="FF0000"/>
                </a:solidFill>
              </a:rPr>
              <a:t>Added value</a:t>
            </a:r>
            <a:r>
              <a:rPr lang="en-US" b="1" dirty="0" smtClean="0">
                <a:solidFill>
                  <a:srgbClr val="FF0000"/>
                </a:solidFill>
              </a:rPr>
              <a:t>: </a:t>
            </a:r>
            <a:r>
              <a:rPr lang="en-US" i="1" dirty="0" smtClean="0">
                <a:solidFill>
                  <a:srgbClr val="003399"/>
                </a:solidFill>
              </a:rPr>
              <a:t>overcomes traditional forms of international police and judicial cooperation, such as parallel investigations and  the exchange of Letters of Request  &amp;  facilitates the direct exchange of information and simplifies cooperation, communication and coordination. </a:t>
            </a:r>
          </a:p>
          <a:p>
            <a:pPr>
              <a:buNone/>
            </a:pPr>
            <a:endParaRPr lang="en-US" b="1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3600" b="1" dirty="0" smtClean="0">
                <a:solidFill>
                  <a:srgbClr val="FF0000"/>
                </a:solidFill>
              </a:rPr>
              <a:t>EUROJUST’s support</a:t>
            </a:r>
            <a:r>
              <a:rPr lang="en-US" b="1" dirty="0" smtClean="0">
                <a:solidFill>
                  <a:srgbClr val="FF0000"/>
                </a:solidFill>
              </a:rPr>
              <a:t>:</a:t>
            </a:r>
            <a:r>
              <a:rPr lang="en-US" dirty="0" smtClean="0">
                <a:solidFill>
                  <a:srgbClr val="003399"/>
                </a:solidFill>
              </a:rPr>
              <a:t>  </a:t>
            </a:r>
            <a:r>
              <a:rPr lang="en-US" i="1" dirty="0" smtClean="0">
                <a:solidFill>
                  <a:srgbClr val="003399"/>
                </a:solidFill>
              </a:rPr>
              <a:t>JIT agreements, funding, strategic &amp; legal advise, coordination of operations, JIT Network Secretariat.</a:t>
            </a:r>
            <a:endParaRPr lang="en-US" i="1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en-GB" dirty="0"/>
              <a:t>The Dutch House of Representatives</a:t>
            </a:r>
          </a:p>
          <a:p>
            <a:pPr lvl="0">
              <a:defRPr/>
            </a:pPr>
            <a:r>
              <a:rPr lang="en-GB" dirty="0"/>
              <a:t>The Hague, 05 Februar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GB" sz="3600" dirty="0" smtClean="0"/>
              <a:t>Eurojust Products</a:t>
            </a:r>
            <a:endParaRPr lang="en-GB" sz="3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Dutch House of Representatives</a:t>
            </a:r>
          </a:p>
          <a:p>
            <a:r>
              <a:rPr lang="en-GB" dirty="0"/>
              <a:t>The Hague, 05 February 2014</a:t>
            </a:r>
          </a:p>
        </p:txBody>
      </p:sp>
      <p:sp>
        <p:nvSpPr>
          <p:cNvPr id="29699" name="Content Placeholder 2"/>
          <p:cNvSpPr>
            <a:spLocks noGrp="1"/>
          </p:cNvSpPr>
          <p:nvPr>
            <p:ph idx="1"/>
          </p:nvPr>
        </p:nvSpPr>
        <p:spPr>
          <a:xfrm>
            <a:off x="2123728" y="1268760"/>
            <a:ext cx="6707088" cy="4857750"/>
          </a:xfrm>
        </p:spPr>
        <p:txBody>
          <a:bodyPr>
            <a:normAutofit lnSpcReduction="10000"/>
          </a:bodyPr>
          <a:lstStyle/>
          <a:p>
            <a:pPr>
              <a:spcBef>
                <a:spcPts val="1200"/>
              </a:spcBef>
            </a:pPr>
            <a:r>
              <a:rPr lang="en-GB" sz="2600" dirty="0" smtClean="0"/>
              <a:t>Terrorism Convictions Monitor</a:t>
            </a:r>
          </a:p>
          <a:p>
            <a:pPr>
              <a:spcBef>
                <a:spcPts val="1200"/>
              </a:spcBef>
            </a:pPr>
            <a:r>
              <a:rPr lang="en-GB" sz="2600" dirty="0" smtClean="0"/>
              <a:t>Contributions to Europol SOCTA &amp; TE-SAT</a:t>
            </a:r>
          </a:p>
          <a:p>
            <a:pPr>
              <a:spcBef>
                <a:spcPts val="1200"/>
              </a:spcBef>
            </a:pPr>
            <a:r>
              <a:rPr lang="en-GB" sz="2600" dirty="0" smtClean="0"/>
              <a:t>Strategic report </a:t>
            </a:r>
            <a:r>
              <a:rPr lang="en-GB" sz="2600" i="1" dirty="0" smtClean="0"/>
              <a:t>Enhancing the work of Eurojust in drug trafficking cases</a:t>
            </a:r>
          </a:p>
          <a:p>
            <a:pPr>
              <a:spcBef>
                <a:spcPts val="1200"/>
              </a:spcBef>
            </a:pPr>
            <a:r>
              <a:rPr lang="en-GB" sz="2600" dirty="0" smtClean="0"/>
              <a:t>Final report and Action Plan 2012-2016  </a:t>
            </a:r>
            <a:r>
              <a:rPr lang="en-GB" sz="2600" i="1" dirty="0" err="1" smtClean="0"/>
              <a:t>Eurojust’s</a:t>
            </a:r>
            <a:r>
              <a:rPr lang="en-GB" sz="2600" i="1" dirty="0" smtClean="0"/>
              <a:t> Action against Trafficking in Human Beings </a:t>
            </a:r>
          </a:p>
          <a:p>
            <a:pPr>
              <a:spcBef>
                <a:spcPts val="1200"/>
              </a:spcBef>
            </a:pPr>
            <a:r>
              <a:rPr lang="en-GB" sz="2600" dirty="0" smtClean="0"/>
              <a:t>Report </a:t>
            </a:r>
            <a:r>
              <a:rPr lang="en-GB" sz="2600" i="1" dirty="0" smtClean="0"/>
              <a:t>Multidisciplinary approach against organised crime</a:t>
            </a:r>
            <a:endParaRPr lang="en-GB" sz="2600" dirty="0" smtClean="0"/>
          </a:p>
          <a:p>
            <a:pPr>
              <a:spcBef>
                <a:spcPts val="1200"/>
              </a:spcBef>
            </a:pPr>
            <a:r>
              <a:rPr lang="en-GB" sz="2600" dirty="0" smtClean="0"/>
              <a:t>External Newsletters: </a:t>
            </a:r>
            <a:r>
              <a:rPr lang="en-GB" sz="2600" i="1" dirty="0" smtClean="0"/>
              <a:t>Counter-Terrorism, </a:t>
            </a:r>
            <a:r>
              <a:rPr lang="en-GB" sz="2600" i="1" dirty="0" smtClean="0"/>
              <a:t>THB, </a:t>
            </a:r>
            <a:r>
              <a:rPr lang="en-GB" sz="2600" i="1" dirty="0" smtClean="0"/>
              <a:t>Cybercrime, JIT...</a:t>
            </a:r>
          </a:p>
        </p:txBody>
      </p:sp>
      <p:pic>
        <p:nvPicPr>
          <p:cNvPr id="6" name="Picture 5" descr="TCM - Issue 1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1340768"/>
            <a:ext cx="1475779" cy="2113970"/>
          </a:xfrm>
          <a:prstGeom prst="rect">
            <a:avLst/>
          </a:prstGeom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 r="1148"/>
          <a:stretch>
            <a:fillRect/>
          </a:stretch>
        </p:blipFill>
        <p:spPr bwMode="auto">
          <a:xfrm>
            <a:off x="323528" y="2636912"/>
            <a:ext cx="1382522" cy="1974722"/>
          </a:xfrm>
          <a:prstGeom prst="rect">
            <a:avLst/>
          </a:prstGeom>
          <a:noFill/>
          <a:ln w="635">
            <a:solidFill>
              <a:srgbClr val="00B0F0"/>
            </a:solidFill>
            <a:miter lim="800000"/>
            <a:headEnd/>
            <a:tailEnd/>
          </a:ln>
        </p:spPr>
      </p:pic>
      <p:pic>
        <p:nvPicPr>
          <p:cNvPr id="10" name="Picture 9" descr="EJ Newsletter - EPP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7544" y="3933056"/>
            <a:ext cx="1525661" cy="2157638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 smtClean="0"/>
              <a:t>Recent developments 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endParaRPr lang="en-GB" sz="2400" dirty="0" smtClean="0"/>
          </a:p>
          <a:p>
            <a:r>
              <a:rPr lang="en-GB" sz="2800" dirty="0" smtClean="0"/>
              <a:t>Adoption </a:t>
            </a:r>
            <a:r>
              <a:rPr lang="en-GB" sz="2800" dirty="0" smtClean="0">
                <a:solidFill>
                  <a:srgbClr val="003399"/>
                </a:solidFill>
              </a:rPr>
              <a:t>of </a:t>
            </a:r>
            <a:r>
              <a:rPr lang="en-GB" sz="2800" b="1" dirty="0" smtClean="0">
                <a:solidFill>
                  <a:srgbClr val="003399"/>
                </a:solidFill>
              </a:rPr>
              <a:t>Council Decision </a:t>
            </a:r>
            <a:r>
              <a:rPr lang="en-GB" sz="2800" dirty="0" smtClean="0"/>
              <a:t>on the </a:t>
            </a:r>
            <a:r>
              <a:rPr lang="en-GB" sz="2800" dirty="0" smtClean="0">
                <a:solidFill>
                  <a:srgbClr val="003399"/>
                </a:solidFill>
              </a:rPr>
              <a:t>strengthening of Eurojust </a:t>
            </a:r>
            <a:r>
              <a:rPr lang="en-GB" sz="2800" dirty="0" smtClean="0"/>
              <a:t>in 2008 </a:t>
            </a:r>
          </a:p>
          <a:p>
            <a:r>
              <a:rPr lang="en-GB" sz="2800" dirty="0" smtClean="0"/>
              <a:t>Entry into force of the </a:t>
            </a:r>
            <a:r>
              <a:rPr lang="en-GB" sz="2800" b="1" dirty="0" smtClean="0">
                <a:solidFill>
                  <a:srgbClr val="003399"/>
                </a:solidFill>
              </a:rPr>
              <a:t>Lisbon Treaty </a:t>
            </a:r>
            <a:r>
              <a:rPr lang="en-GB" sz="2800" dirty="0" smtClean="0"/>
              <a:t>in 2009 </a:t>
            </a:r>
          </a:p>
          <a:p>
            <a:r>
              <a:rPr lang="en-GB" sz="2800" b="1" dirty="0" smtClean="0">
                <a:solidFill>
                  <a:srgbClr val="003399"/>
                </a:solidFill>
              </a:rPr>
              <a:t>Common approach </a:t>
            </a:r>
            <a:r>
              <a:rPr lang="en-GB" sz="2800" dirty="0" smtClean="0"/>
              <a:t>of the European Parliament, the Council of </a:t>
            </a:r>
            <a:r>
              <a:rPr lang="en-GB" sz="2800" dirty="0" smtClean="0">
                <a:solidFill>
                  <a:srgbClr val="003399"/>
                </a:solidFill>
              </a:rPr>
              <a:t>the</a:t>
            </a:r>
            <a:r>
              <a:rPr lang="en-GB" sz="2800" dirty="0" smtClean="0"/>
              <a:t> EU and the European Commission </a:t>
            </a:r>
            <a:r>
              <a:rPr lang="en-GB" sz="2800" dirty="0" smtClean="0">
                <a:solidFill>
                  <a:srgbClr val="003399"/>
                </a:solidFill>
              </a:rPr>
              <a:t>on decentralised agencies </a:t>
            </a:r>
            <a:r>
              <a:rPr lang="en-GB" sz="2800" dirty="0" smtClean="0"/>
              <a:t>in 2012</a:t>
            </a:r>
          </a:p>
          <a:p>
            <a:r>
              <a:rPr lang="en-GB" sz="2800" dirty="0" smtClean="0">
                <a:solidFill>
                  <a:srgbClr val="003399"/>
                </a:solidFill>
              </a:rPr>
              <a:t>Proposals for </a:t>
            </a:r>
            <a:r>
              <a:rPr lang="en-GB" sz="2800" b="1" dirty="0" smtClean="0">
                <a:solidFill>
                  <a:srgbClr val="003399"/>
                </a:solidFill>
              </a:rPr>
              <a:t>Regulations on Eurojust </a:t>
            </a:r>
            <a:r>
              <a:rPr lang="en-GB" sz="2800" dirty="0" smtClean="0"/>
              <a:t>and the establishment of an </a:t>
            </a:r>
            <a:r>
              <a:rPr lang="en-GB" sz="2800" b="1" dirty="0" smtClean="0">
                <a:solidFill>
                  <a:srgbClr val="003399"/>
                </a:solidFill>
              </a:rPr>
              <a:t>European Public Prosecutor’s Office</a:t>
            </a:r>
            <a:r>
              <a:rPr lang="en-GB" sz="2800" b="1" dirty="0" smtClean="0"/>
              <a:t> </a:t>
            </a:r>
            <a:r>
              <a:rPr lang="en-GB" sz="2800" dirty="0" smtClean="0"/>
              <a:t>in July 2013</a:t>
            </a:r>
          </a:p>
          <a:p>
            <a:pPr>
              <a:buNone/>
            </a:pPr>
            <a:endParaRPr lang="en-GB" sz="2400" dirty="0" smtClean="0"/>
          </a:p>
          <a:p>
            <a:pPr>
              <a:buNone/>
            </a:pPr>
            <a:endParaRPr lang="en-GB" sz="2400" dirty="0" smtClean="0"/>
          </a:p>
          <a:p>
            <a:pPr>
              <a:buNone/>
            </a:pPr>
            <a:endParaRPr lang="en-GB" sz="2400" dirty="0" smtClean="0"/>
          </a:p>
          <a:p>
            <a:pPr>
              <a:buNone/>
            </a:pPr>
            <a:endParaRPr lang="en-GB" sz="2400" b="1" dirty="0" smtClean="0"/>
          </a:p>
          <a:p>
            <a:pPr>
              <a:buNone/>
            </a:pPr>
            <a:endParaRPr lang="en-GB" sz="2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Dutch House of Representatives</a:t>
            </a:r>
          </a:p>
          <a:p>
            <a:r>
              <a:rPr lang="en-GB" dirty="0"/>
              <a:t>The Hague, 05 Februar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39CD9-B6A6-4219-B9B0-2197EE2558CC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d9oHEHwkicdXcWhIYK9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d9oHEHwkicdXcWhIYK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d9oHEHwkicdXcWhIYK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wVqCW0gbUmwDj86exkQ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wVqCW0gbUmwDj86exkQ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wVqCW0gbUmwDj86exkQ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d9oHEHwkicdXcWhIYK9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wVqCW0gbUmwDj86exkQ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d9oHEHwkicdXcWhIYK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6PPGyITB0iHjQLzjgy2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wVqCW0gbUmwDj86exkQ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wVqCW0gbUmwDj86exkQ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n9IduBBYkirKo4WCwT1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HWlcEiOEkK3V7aM9wJLFQ"/>
</p:tagLst>
</file>

<file path=ppt/theme/theme1.xml><?xml version="1.0" encoding="utf-8"?>
<a:theme xmlns:a="http://schemas.openxmlformats.org/drawingml/2006/main" name="ThemeEJ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urojust2013">
      <a:majorFont>
        <a:latin typeface="Trebuchet MS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ap:Properties xmlns:vt="http://schemas.openxmlformats.org/officeDocument/2006/docPropsVTypes" xmlns:ap="http://schemas.openxmlformats.org/officeDocument/2006/extended-properties">
  <ap:Words>1012</ap:Words>
  <ap:PresentationFormat>On-screen Show (4:3)</ap:PresentationFormat>
  <ap:Paragraphs>286</ap:Paragraphs>
  <ap:Slides>16</ap:Slides>
  <ap:HiddenSlides>0</ap:HiddenSlides>
  <ap:MMClips>0</ap:MMClips>
  <ap:ScaleCrop>false</ap:ScaleCrop>
  <ap:HeadingPairs>
    <vt:vector baseType="variant" size="4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ap:HeadingPairs>
  <ap:TitlesOfParts>
    <vt:vector baseType="lpstr" size="17">
      <vt:lpstr>ThemeEJ</vt:lpstr>
      <vt:lpstr>PowerPoint Presentation</vt:lpstr>
      <vt:lpstr>Strengthening Eurojust and Creating synergies with a European Public Prosecutor’s Office  </vt:lpstr>
      <vt:lpstr>Eurojust</vt:lpstr>
      <vt:lpstr>Casework 2009-2013</vt:lpstr>
      <vt:lpstr>Requesting/Requested Member States 2013</vt:lpstr>
      <vt:lpstr>Priority crime types 2013</vt:lpstr>
      <vt:lpstr>Eurojust &amp;Joint Investigation Teams </vt:lpstr>
      <vt:lpstr>Eurojust Products</vt:lpstr>
      <vt:lpstr>Recent developments </vt:lpstr>
      <vt:lpstr>Reforming Eurojust </vt:lpstr>
      <vt:lpstr>European Public Prosecutor’s Office  </vt:lpstr>
      <vt:lpstr>EPPO as new EU player </vt:lpstr>
      <vt:lpstr>EPPO alongside Eurojust</vt:lpstr>
      <vt:lpstr>EPPO &amp; Eurojust: ‘special relationship’ </vt:lpstr>
      <vt:lpstr>What’s next</vt:lpstr>
      <vt:lpstr>PowerPoint Presentation</vt:lpstr>
    </vt:vector>
  </ap:TitlesOfParts>
  <ap:LinksUpToDate>false</ap:LinksUpToDate>
  <ap:SharedDoc>false</ap:SharedDoc>
</ap:Properties>
</file>

<file path=docProps/core.xml><?xml version="1.0" encoding="utf-8"?>
<coreProperties xmlns:dc="http://purl.org/dc/elements/1.1/" xmlns:dcterms="http://purl.org/dc/terms/" xmlns:xsi="http://www.w3.org/2001/XMLSchema-instance" xmlns="http://schemas.openxmlformats.org/package/2006/metadata/core-properties">
  <dc:title/>
  <dc:creator/>
  <lastModifiedBy/>
  <revision/>
  <dcterms:created xsi:type="dcterms:W3CDTF">2003-12-10T15:48:45.0000000Z</dcterms:created>
  <dcterms:modified xsi:type="dcterms:W3CDTF">2014-02-04T09:01:18.0000000Z</dcterms:modified>
  <dc:description/>
  <dc:subject/>
  <keywords/>
  <version/>
  <category>------------------------</category>
</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EE5075A93ECC48A05048CBC5B6A500</vt:lpwstr>
  </property>
</Properties>
</file>